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2.xml" ContentType="application/vnd.openxmlformats-officedocument.theme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3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4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5.xml" ContentType="application/vnd.openxmlformats-officedocument.theme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6.xml" ContentType="application/vnd.openxmlformats-officedocument.theme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7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8.xml" ContentType="application/vnd.openxmlformats-officedocument.theme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theme/theme9.xml" ContentType="application/vnd.openxmlformats-officedocument.theme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theme/theme10.xml" ContentType="application/vnd.openxmlformats-officedocument.theme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theme/theme11.xml" ContentType="application/vnd.openxmlformats-officedocument.theme+xml"/>
  <Override PartName="/ppt/theme/theme12.xml" ContentType="application/vnd.openxmlformats-officedocument.theme+xml"/>
  <Override PartName="/ppt/theme/theme1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3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3.xml" ContentType="application/vnd.openxmlformats-officedocument.themeOverr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4.xml" ContentType="application/vnd.openxmlformats-officedocument.themeOverr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4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5.xml" ContentType="application/vnd.openxmlformats-officedocument.themeOverr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6.xml" ContentType="application/vnd.openxmlformats-officedocument.themeOverr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7.xml" ContentType="application/vnd.openxmlformats-officedocument.themeOverr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8.xml" ContentType="application/vnd.openxmlformats-officedocument.themeOverr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9.xml" ContentType="application/vnd.openxmlformats-officedocument.themeOverrid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0.xml" ContentType="application/vnd.openxmlformats-officedocument.themeOverr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1.xml" ContentType="application/vnd.openxmlformats-officedocument.themeOverr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12.xml" ContentType="application/vnd.openxmlformats-officedocument.themeOverr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3.xml" ContentType="application/vnd.openxmlformats-officedocument.themeOverr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14.xml" ContentType="application/vnd.openxmlformats-officedocument.themeOverride+xml"/>
  <Override PartName="/ppt/charts/chart21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15.xml" ContentType="application/vnd.openxmlformats-officedocument.themeOverride+xml"/>
  <Override PartName="/ppt/charts/chart22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16.xml" ContentType="application/vnd.openxmlformats-officedocument.themeOverride+xml"/>
  <Override PartName="/ppt/charts/chart23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17.xml" ContentType="application/vnd.openxmlformats-officedocument.themeOverride+xml"/>
  <Override PartName="/ppt/charts/chart24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heme/themeOverride18.xml" ContentType="application/vnd.openxmlformats-officedocument.themeOverride+xml"/>
  <Override PartName="/ppt/charts/chart25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theme/themeOverride19.xml" ContentType="application/vnd.openxmlformats-officedocument.themeOverride+xml"/>
  <Override PartName="/ppt/charts/chart26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heme/themeOverride20.xml" ContentType="application/vnd.openxmlformats-officedocument.themeOverride+xml"/>
  <Override PartName="/ppt/charts/chart27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heme/themeOverride21.xml" ContentType="application/vnd.openxmlformats-officedocument.themeOverride+xml"/>
  <Override PartName="/ppt/charts/chart28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theme/themeOverride22.xml" ContentType="application/vnd.openxmlformats-officedocument.themeOverride+xml"/>
  <Override PartName="/ppt/charts/chart29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heme/themeOverride23.xml" ContentType="application/vnd.openxmlformats-officedocument.themeOverride+xml"/>
  <Override PartName="/ppt/charts/chart30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charts/chart31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charts/chart32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heme/themeOverride24.xml" ContentType="application/vnd.openxmlformats-officedocument.themeOverride+xml"/>
  <Override PartName="/ppt/charts/chart33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notesSlides/notesSlide5.xml" ContentType="application/vnd.openxmlformats-officedocument.presentationml.notesSlide+xml"/>
  <Override PartName="/ppt/charts/chart34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25.xml" ContentType="application/vnd.openxmlformats-officedocument.themeOverride+xml"/>
  <Override PartName="/ppt/charts/chart35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heme/themeOverride26.xml" ContentType="application/vnd.openxmlformats-officedocument.themeOverride+xml"/>
  <Override PartName="/ppt/charts/chart36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65" r:id="rId4"/>
    <p:sldMasterId id="2147484242" r:id="rId5"/>
    <p:sldMasterId id="2147484353" r:id="rId6"/>
    <p:sldMasterId id="2147484386" r:id="rId7"/>
    <p:sldMasterId id="2147484417" r:id="rId8"/>
    <p:sldMasterId id="2147484483" r:id="rId9"/>
    <p:sldMasterId id="2147484514" r:id="rId10"/>
    <p:sldMasterId id="2147484579" r:id="rId11"/>
    <p:sldMasterId id="2147484610" r:id="rId12"/>
    <p:sldMasterId id="2147484645" r:id="rId13"/>
    <p:sldMasterId id="2147484676" r:id="rId14"/>
  </p:sldMasterIdLst>
  <p:notesMasterIdLst>
    <p:notesMasterId r:id="rId58"/>
  </p:notesMasterIdLst>
  <p:handoutMasterIdLst>
    <p:handoutMasterId r:id="rId59"/>
  </p:handoutMasterIdLst>
  <p:sldIdLst>
    <p:sldId id="1311" r:id="rId15"/>
    <p:sldId id="1504" r:id="rId16"/>
    <p:sldId id="2147472289" r:id="rId17"/>
    <p:sldId id="2147472337" r:id="rId18"/>
    <p:sldId id="2147472342" r:id="rId19"/>
    <p:sldId id="2147470325" r:id="rId20"/>
    <p:sldId id="2147472329" r:id="rId21"/>
    <p:sldId id="2147472282" r:id="rId22"/>
    <p:sldId id="2147472322" r:id="rId23"/>
    <p:sldId id="2147472323" r:id="rId24"/>
    <p:sldId id="2147472326" r:id="rId25"/>
    <p:sldId id="2147472324" r:id="rId26"/>
    <p:sldId id="2147472272" r:id="rId27"/>
    <p:sldId id="2147472284" r:id="rId28"/>
    <p:sldId id="2147472332" r:id="rId29"/>
    <p:sldId id="2147472318" r:id="rId30"/>
    <p:sldId id="2147472333" r:id="rId31"/>
    <p:sldId id="2147472320" r:id="rId32"/>
    <p:sldId id="2147472334" r:id="rId33"/>
    <p:sldId id="2147472321" r:id="rId34"/>
    <p:sldId id="2147472335" r:id="rId35"/>
    <p:sldId id="2147472273" r:id="rId36"/>
    <p:sldId id="2147472280" r:id="rId37"/>
    <p:sldId id="2147472301" r:id="rId38"/>
    <p:sldId id="2147472302" r:id="rId39"/>
    <p:sldId id="2147472303" r:id="rId40"/>
    <p:sldId id="2147472304" r:id="rId41"/>
    <p:sldId id="2147472281" r:id="rId42"/>
    <p:sldId id="2147472305" r:id="rId43"/>
    <p:sldId id="2147472306" r:id="rId44"/>
    <p:sldId id="2147472274" r:id="rId45"/>
    <p:sldId id="2147472308" r:id="rId46"/>
    <p:sldId id="2147472275" r:id="rId47"/>
    <p:sldId id="2147472330" r:id="rId48"/>
    <p:sldId id="2147472309" r:id="rId49"/>
    <p:sldId id="2147472343" r:id="rId50"/>
    <p:sldId id="2147472310" r:id="rId51"/>
    <p:sldId id="2147472344" r:id="rId52"/>
    <p:sldId id="2147472311" r:id="rId53"/>
    <p:sldId id="2147472312" r:id="rId54"/>
    <p:sldId id="2147472314" r:id="rId55"/>
    <p:sldId id="2147472313" r:id="rId56"/>
    <p:sldId id="1791" r:id="rId57"/>
  </p:sldIdLst>
  <p:sldSz cx="12192000" cy="6858000"/>
  <p:notesSz cx="7011988" cy="9297988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686BD01B-F0D6-B5BE-DF22-9BC1E51EA4BD}" name="Emily Henrick" initials="EH" userId="S::emily.henrick@harrispoll.com::db4fe04a-e727-4496-9631-b11cea1e185b" providerId="AD"/>
  <p188:author id="{0BA8924B-0E4B-4B18-8DEE-F696D90E1705}" name="Nicole Alfano" initials="NA" userId="S::nicole.alfano@harrispoll.com::cc64bf32-4bae-4b2d-95de-315d4e7f1ab0" providerId="AD"/>
  <p188:author id="{170CCD63-CB76-5ACC-D5FB-3ADB6FCB5505}" name="Kat Williams" initials="KW" userId="S::kat.williams@harrispoll.com::fe2d2e23-c50b-4fb1-bac0-5af49a44e9c2" providerId="AD"/>
  <p188:author id="{F03B897B-D897-A987-A1F6-90EC1BD33FD4}" name="Erica Parker" initials="EP" userId="S::erica.parker@harrispoll.com::5821f3cf-cbb2-40e0-90d1-65feb1595ea1" providerId="AD"/>
  <p188:author id="{2DC090B7-1DF5-F02A-AFC7-3B10A334D871}" name="Erica Parker" initials="EP" userId="S::Erica.Parker@harrispoll.com::5821f3cf-cbb2-40e0-90d1-65feb1595ea1" providerId="AD"/>
  <p188:author id="{277FA3CA-05E5-000D-F90B-090CC132BB67}" name="Jacklyn  Cooney" initials="JC" userId="S::jacklyn.cooney@harrispoll.com::4671fd87-1c36-424f-adfb-fe46f037022a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Tawny Saez" initials="TS" lastIdx="5" clrIdx="0">
    <p:extLst>
      <p:ext uri="{19B8F6BF-5375-455C-9EA6-DF929625EA0E}">
        <p15:presenceInfo xmlns:p15="http://schemas.microsoft.com/office/powerpoint/2012/main" userId="S::tawny.saez@harrisinsights.com::2913b00c-fb6f-4e8a-bee1-8c08f32ef7de" providerId="AD"/>
      </p:ext>
    </p:extLst>
  </p:cmAuthor>
  <p:cmAuthor id="2" name="Andrew Higham" initials="AH" lastIdx="4" clrIdx="1">
    <p:extLst>
      <p:ext uri="{19B8F6BF-5375-455C-9EA6-DF929625EA0E}">
        <p15:presenceInfo xmlns:p15="http://schemas.microsoft.com/office/powerpoint/2012/main" userId="S::andrew.higham@harrisinsights.com::35dafcc8-73c5-404a-9731-d0dc709edbaf" providerId="AD"/>
      </p:ext>
    </p:extLst>
  </p:cmAuthor>
  <p:cmAuthor id="3" name="Marie Aloi" initials="MA" lastIdx="8" clrIdx="2">
    <p:extLst>
      <p:ext uri="{19B8F6BF-5375-455C-9EA6-DF929625EA0E}">
        <p15:presenceInfo xmlns:p15="http://schemas.microsoft.com/office/powerpoint/2012/main" userId="S-1-12-1-1671365597-1128412942-364009609-4032178151" providerId="AD"/>
      </p:ext>
    </p:extLst>
  </p:cmAuthor>
  <p:cmAuthor id="4" name="Chris McAllister" initials="CM" lastIdx="4" clrIdx="3">
    <p:extLst>
      <p:ext uri="{19B8F6BF-5375-455C-9EA6-DF929625EA0E}">
        <p15:presenceInfo xmlns:p15="http://schemas.microsoft.com/office/powerpoint/2012/main" userId="S::chris.mcallister@harrisinsights.com::1c21de35-29b4-45c9-a39e-8ffc18f06b64" providerId="AD"/>
      </p:ext>
    </p:extLst>
  </p:cmAuthor>
  <p:cmAuthor id="5" name="John Gerzema" initials="JG" lastIdx="4" clrIdx="4">
    <p:extLst>
      <p:ext uri="{19B8F6BF-5375-455C-9EA6-DF929625EA0E}">
        <p15:presenceInfo xmlns:p15="http://schemas.microsoft.com/office/powerpoint/2012/main" userId="S::jgerzema@harrisinsights.com::9479822d-61de-40b2-b816-750aef508154" providerId="AD"/>
      </p:ext>
    </p:extLst>
  </p:cmAuthor>
  <p:cmAuthor id="6" name="Steve Nicklin" initials="SN" lastIdx="13" clrIdx="5">
    <p:extLst>
      <p:ext uri="{19B8F6BF-5375-455C-9EA6-DF929625EA0E}">
        <p15:presenceInfo xmlns:p15="http://schemas.microsoft.com/office/powerpoint/2012/main" userId="S::snicklin@oaaa.org::4d267a5b-9ae4-459a-bbb3-586e46512d6c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31034"/>
    <a:srgbClr val="BA4C67"/>
    <a:srgbClr val="FFA58F"/>
    <a:srgbClr val="019EDB"/>
    <a:srgbClr val="41B6E4"/>
    <a:srgbClr val="FF8769"/>
    <a:srgbClr val="C5EFFF"/>
    <a:srgbClr val="E3DECE"/>
    <a:srgbClr val="BFBFBF"/>
    <a:srgbClr val="C2FF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55EEA93-E983-4BE1-8830-68537BDC3B62}" v="5" dt="2024-05-16T18:35:51.46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93D81CF-94F2-401A-BA57-92F5A7B2D0C5}" styleName="Medium Styl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04" d="100"/>
          <a:sy n="104" d="100"/>
        </p:scale>
        <p:origin x="83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34" Type="http://schemas.openxmlformats.org/officeDocument/2006/relationships/slide" Target="slides/slide20.xml"/><Relationship Id="rId42" Type="http://schemas.openxmlformats.org/officeDocument/2006/relationships/slide" Target="slides/slide28.xml"/><Relationship Id="rId47" Type="http://schemas.openxmlformats.org/officeDocument/2006/relationships/slide" Target="slides/slide33.xml"/><Relationship Id="rId50" Type="http://schemas.openxmlformats.org/officeDocument/2006/relationships/slide" Target="slides/slide36.xml"/><Relationship Id="rId55" Type="http://schemas.openxmlformats.org/officeDocument/2006/relationships/slide" Target="slides/slide41.xml"/><Relationship Id="rId63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9" Type="http://schemas.openxmlformats.org/officeDocument/2006/relationships/slide" Target="slides/slide15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slide" Target="slides/slide18.xml"/><Relationship Id="rId37" Type="http://schemas.openxmlformats.org/officeDocument/2006/relationships/slide" Target="slides/slide23.xml"/><Relationship Id="rId40" Type="http://schemas.openxmlformats.org/officeDocument/2006/relationships/slide" Target="slides/slide26.xml"/><Relationship Id="rId45" Type="http://schemas.openxmlformats.org/officeDocument/2006/relationships/slide" Target="slides/slide31.xml"/><Relationship Id="rId53" Type="http://schemas.openxmlformats.org/officeDocument/2006/relationships/slide" Target="slides/slide39.xml"/><Relationship Id="rId58" Type="http://schemas.openxmlformats.org/officeDocument/2006/relationships/notesMaster" Target="notesMasters/notesMaster1.xml"/><Relationship Id="rId66" Type="http://schemas.microsoft.com/office/2015/10/relationships/revisionInfo" Target="revisionInfo.xml"/><Relationship Id="rId5" Type="http://schemas.openxmlformats.org/officeDocument/2006/relationships/slideMaster" Target="slideMasters/slideMaster2.xml"/><Relationship Id="rId61" Type="http://schemas.openxmlformats.org/officeDocument/2006/relationships/presProps" Target="presProps.xml"/><Relationship Id="rId19" Type="http://schemas.openxmlformats.org/officeDocument/2006/relationships/slide" Target="slides/slide5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slide" Target="slides/slide21.xml"/><Relationship Id="rId43" Type="http://schemas.openxmlformats.org/officeDocument/2006/relationships/slide" Target="slides/slide29.xml"/><Relationship Id="rId48" Type="http://schemas.openxmlformats.org/officeDocument/2006/relationships/slide" Target="slides/slide34.xml"/><Relationship Id="rId56" Type="http://schemas.openxmlformats.org/officeDocument/2006/relationships/slide" Target="slides/slide42.xml"/><Relationship Id="rId64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37.xml"/><Relationship Id="rId3" Type="http://schemas.openxmlformats.org/officeDocument/2006/relationships/customXml" Target="../customXml/item3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slide" Target="slides/slide19.xml"/><Relationship Id="rId38" Type="http://schemas.openxmlformats.org/officeDocument/2006/relationships/slide" Target="slides/slide24.xml"/><Relationship Id="rId46" Type="http://schemas.openxmlformats.org/officeDocument/2006/relationships/slide" Target="slides/slide32.xml"/><Relationship Id="rId59" Type="http://schemas.openxmlformats.org/officeDocument/2006/relationships/handoutMaster" Target="handoutMasters/handoutMaster1.xml"/><Relationship Id="rId67" Type="http://schemas.microsoft.com/office/2018/10/relationships/authors" Target="authors.xml"/><Relationship Id="rId20" Type="http://schemas.openxmlformats.org/officeDocument/2006/relationships/slide" Target="slides/slide6.xml"/><Relationship Id="rId41" Type="http://schemas.openxmlformats.org/officeDocument/2006/relationships/slide" Target="slides/slide27.xml"/><Relationship Id="rId54" Type="http://schemas.openxmlformats.org/officeDocument/2006/relationships/slide" Target="slides/slide40.xml"/><Relationship Id="rId62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slide" Target="slides/slide22.xml"/><Relationship Id="rId49" Type="http://schemas.openxmlformats.org/officeDocument/2006/relationships/slide" Target="slides/slide35.xml"/><Relationship Id="rId57" Type="http://schemas.openxmlformats.org/officeDocument/2006/relationships/slide" Target="slides/slide43.xml"/><Relationship Id="rId10" Type="http://schemas.openxmlformats.org/officeDocument/2006/relationships/slideMaster" Target="slideMasters/slideMaster7.xml"/><Relationship Id="rId31" Type="http://schemas.openxmlformats.org/officeDocument/2006/relationships/slide" Target="slides/slide17.xml"/><Relationship Id="rId44" Type="http://schemas.openxmlformats.org/officeDocument/2006/relationships/slide" Target="slides/slide30.xml"/><Relationship Id="rId52" Type="http://schemas.openxmlformats.org/officeDocument/2006/relationships/slide" Target="slides/slide38.xml"/><Relationship Id="rId60" Type="http://schemas.openxmlformats.org/officeDocument/2006/relationships/commentAuthors" Target="commentAuthors.xml"/><Relationship Id="rId65" Type="http://schemas.microsoft.com/office/2016/11/relationships/changesInfo" Target="changesInfos/changesInfo1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39" Type="http://schemas.openxmlformats.org/officeDocument/2006/relationships/slide" Target="slides/slide2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teve Nicklin" userId="4d267a5b-9ae4-459a-bbb3-586e46512d6c" providerId="ADAL" clId="{91C84F61-E243-4D9A-8FF2-47ACEAE6B362}"/>
    <pc:docChg chg="custSel modSld">
      <pc:chgData name="Steve Nicklin" userId="4d267a5b-9ae4-459a-bbb3-586e46512d6c" providerId="ADAL" clId="{91C84F61-E243-4D9A-8FF2-47ACEAE6B362}" dt="2024-04-24T14:26:16.840" v="186" actId="1076"/>
      <pc:docMkLst>
        <pc:docMk/>
      </pc:docMkLst>
      <pc:sldChg chg="modSp mod">
        <pc:chgData name="Steve Nicklin" userId="4d267a5b-9ae4-459a-bbb3-586e46512d6c" providerId="ADAL" clId="{91C84F61-E243-4D9A-8FF2-47ACEAE6B362}" dt="2024-04-24T14:26:16.840" v="186" actId="1076"/>
        <pc:sldMkLst>
          <pc:docMk/>
          <pc:sldMk cId="1358065154" sldId="2147472311"/>
        </pc:sldMkLst>
        <pc:spChg chg="mod">
          <ac:chgData name="Steve Nicklin" userId="4d267a5b-9ae4-459a-bbb3-586e46512d6c" providerId="ADAL" clId="{91C84F61-E243-4D9A-8FF2-47ACEAE6B362}" dt="2024-04-24T14:26:16.840" v="186" actId="1076"/>
          <ac:spMkLst>
            <pc:docMk/>
            <pc:sldMk cId="1358065154" sldId="2147472311"/>
            <ac:spMk id="7" creationId="{87AD387C-5F3B-5D53-B53E-756B8E98D4B6}"/>
          </ac:spMkLst>
        </pc:spChg>
      </pc:sldChg>
    </pc:docChg>
  </pc:docChgLst>
  <pc:docChgLst>
    <pc:chgData name="Steve Nicklin" userId="4d267a5b-9ae4-459a-bbb3-586e46512d6c" providerId="ADAL" clId="{755EEA93-E983-4BE1-8830-68537BDC3B62}"/>
    <pc:docChg chg="undo custSel delSld modSld">
      <pc:chgData name="Steve Nicklin" userId="4d267a5b-9ae4-459a-bbb3-586e46512d6c" providerId="ADAL" clId="{755EEA93-E983-4BE1-8830-68537BDC3B62}" dt="2024-05-16T18:35:59.967" v="26" actId="47"/>
      <pc:docMkLst>
        <pc:docMk/>
      </pc:docMkLst>
      <pc:sldChg chg="addSp delSp modSp mod">
        <pc:chgData name="Steve Nicklin" userId="4d267a5b-9ae4-459a-bbb3-586e46512d6c" providerId="ADAL" clId="{755EEA93-E983-4BE1-8830-68537BDC3B62}" dt="2024-05-16T18:33:48.578" v="15" actId="1076"/>
        <pc:sldMkLst>
          <pc:docMk/>
          <pc:sldMk cId="1198017326" sldId="2147472282"/>
        </pc:sldMkLst>
        <pc:graphicFrameChg chg="del">
          <ac:chgData name="Steve Nicklin" userId="4d267a5b-9ae4-459a-bbb3-586e46512d6c" providerId="ADAL" clId="{755EEA93-E983-4BE1-8830-68537BDC3B62}" dt="2024-05-16T18:33:39.802" v="13" actId="478"/>
          <ac:graphicFrameMkLst>
            <pc:docMk/>
            <pc:sldMk cId="1198017326" sldId="2147472282"/>
            <ac:graphicFrameMk id="10" creationId="{8891144E-D2D5-836C-B609-11AF80EA9497}"/>
          </ac:graphicFrameMkLst>
        </pc:graphicFrameChg>
        <pc:graphicFrameChg chg="add mod">
          <ac:chgData name="Steve Nicklin" userId="4d267a5b-9ae4-459a-bbb3-586e46512d6c" providerId="ADAL" clId="{755EEA93-E983-4BE1-8830-68537BDC3B62}" dt="2024-05-16T18:33:48.578" v="15" actId="1076"/>
          <ac:graphicFrameMkLst>
            <pc:docMk/>
            <pc:sldMk cId="1198017326" sldId="2147472282"/>
            <ac:graphicFrameMk id="12" creationId="{DB06F0CF-A9E2-D490-86C4-4180A163A3B6}"/>
          </ac:graphicFrameMkLst>
        </pc:graphicFrameChg>
      </pc:sldChg>
      <pc:sldChg chg="addSp delSp mod">
        <pc:chgData name="Steve Nicklin" userId="4d267a5b-9ae4-459a-bbb3-586e46512d6c" providerId="ADAL" clId="{755EEA93-E983-4BE1-8830-68537BDC3B62}" dt="2024-05-13T15:38:59.269" v="7" actId="9405"/>
        <pc:sldMkLst>
          <pc:docMk/>
          <pc:sldMk cId="37620589" sldId="2147472302"/>
        </pc:sldMkLst>
        <pc:inkChg chg="add del">
          <ac:chgData name="Steve Nicklin" userId="4d267a5b-9ae4-459a-bbb3-586e46512d6c" providerId="ADAL" clId="{755EEA93-E983-4BE1-8830-68537BDC3B62}" dt="2024-05-13T15:38:59.269" v="7" actId="9405"/>
          <ac:inkMkLst>
            <pc:docMk/>
            <pc:sldMk cId="37620589" sldId="2147472302"/>
            <ac:inkMk id="4" creationId="{CEC2689C-E3C1-F51B-E2E1-A1B2778CFEEE}"/>
          </ac:inkMkLst>
        </pc:inkChg>
      </pc:sldChg>
      <pc:sldChg chg="addSp delSp mod">
        <pc:chgData name="Steve Nicklin" userId="4d267a5b-9ae4-459a-bbb3-586e46512d6c" providerId="ADAL" clId="{755EEA93-E983-4BE1-8830-68537BDC3B62}" dt="2024-05-13T15:41:02.988" v="11" actId="9405"/>
        <pc:sldMkLst>
          <pc:docMk/>
          <pc:sldMk cId="2512154454" sldId="2147472305"/>
        </pc:sldMkLst>
        <pc:inkChg chg="add del">
          <ac:chgData name="Steve Nicklin" userId="4d267a5b-9ae4-459a-bbb3-586e46512d6c" providerId="ADAL" clId="{755EEA93-E983-4BE1-8830-68537BDC3B62}" dt="2024-05-13T15:41:02.988" v="11" actId="9405"/>
          <ac:inkMkLst>
            <pc:docMk/>
            <pc:sldMk cId="2512154454" sldId="2147472305"/>
            <ac:inkMk id="22" creationId="{3DEBC449-F87F-6759-6B8F-BB20A1A7263A}"/>
          </ac:inkMkLst>
        </pc:inkChg>
        <pc:inkChg chg="add del">
          <ac:chgData name="Steve Nicklin" userId="4d267a5b-9ae4-459a-bbb3-586e46512d6c" providerId="ADAL" clId="{755EEA93-E983-4BE1-8830-68537BDC3B62}" dt="2024-05-13T15:41:02.198" v="10" actId="9405"/>
          <ac:inkMkLst>
            <pc:docMk/>
            <pc:sldMk cId="2512154454" sldId="2147472305"/>
            <ac:inkMk id="23" creationId="{ED2D1F3F-5EC3-C263-220F-154AF1923C49}"/>
          </ac:inkMkLst>
        </pc:inkChg>
      </pc:sldChg>
      <pc:sldChg chg="addSp delSp modSp mod">
        <pc:chgData name="Steve Nicklin" userId="4d267a5b-9ae4-459a-bbb3-586e46512d6c" providerId="ADAL" clId="{755EEA93-E983-4BE1-8830-68537BDC3B62}" dt="2024-05-16T18:34:38.223" v="18"/>
        <pc:sldMkLst>
          <pc:docMk/>
          <pc:sldMk cId="123684563" sldId="2147472322"/>
        </pc:sldMkLst>
        <pc:graphicFrameChg chg="del">
          <ac:chgData name="Steve Nicklin" userId="4d267a5b-9ae4-459a-bbb3-586e46512d6c" providerId="ADAL" clId="{755EEA93-E983-4BE1-8830-68537BDC3B62}" dt="2024-05-16T18:34:32.889" v="17" actId="478"/>
          <ac:graphicFrameMkLst>
            <pc:docMk/>
            <pc:sldMk cId="123684563" sldId="2147472322"/>
            <ac:graphicFrameMk id="7" creationId="{95068F04-9F37-ECF0-415C-29ED53562E41}"/>
          </ac:graphicFrameMkLst>
        </pc:graphicFrameChg>
        <pc:graphicFrameChg chg="add mod">
          <ac:chgData name="Steve Nicklin" userId="4d267a5b-9ae4-459a-bbb3-586e46512d6c" providerId="ADAL" clId="{755EEA93-E983-4BE1-8830-68537BDC3B62}" dt="2024-05-16T18:34:38.223" v="18"/>
          <ac:graphicFrameMkLst>
            <pc:docMk/>
            <pc:sldMk cId="123684563" sldId="2147472322"/>
            <ac:graphicFrameMk id="13" creationId="{478EAC7F-CC31-6ACC-33D6-36BE2FEE2C0F}"/>
          </ac:graphicFrameMkLst>
        </pc:graphicFrameChg>
      </pc:sldChg>
      <pc:sldChg chg="addSp delSp modSp mod">
        <pc:chgData name="Steve Nicklin" userId="4d267a5b-9ae4-459a-bbb3-586e46512d6c" providerId="ADAL" clId="{755EEA93-E983-4BE1-8830-68537BDC3B62}" dt="2024-05-16T18:35:16.101" v="21"/>
        <pc:sldMkLst>
          <pc:docMk/>
          <pc:sldMk cId="1136797289" sldId="2147472323"/>
        </pc:sldMkLst>
        <pc:graphicFrameChg chg="add mod">
          <ac:chgData name="Steve Nicklin" userId="4d267a5b-9ae4-459a-bbb3-586e46512d6c" providerId="ADAL" clId="{755EEA93-E983-4BE1-8830-68537BDC3B62}" dt="2024-05-16T18:35:16.101" v="21"/>
          <ac:graphicFrameMkLst>
            <pc:docMk/>
            <pc:sldMk cId="1136797289" sldId="2147472323"/>
            <ac:graphicFrameMk id="9" creationId="{A38A63EF-ECA3-B015-A7C7-9D393AABC1B1}"/>
          </ac:graphicFrameMkLst>
        </pc:graphicFrameChg>
        <pc:graphicFrameChg chg="del">
          <ac:chgData name="Steve Nicklin" userId="4d267a5b-9ae4-459a-bbb3-586e46512d6c" providerId="ADAL" clId="{755EEA93-E983-4BE1-8830-68537BDC3B62}" dt="2024-05-16T18:35:14.129" v="20" actId="478"/>
          <ac:graphicFrameMkLst>
            <pc:docMk/>
            <pc:sldMk cId="1136797289" sldId="2147472323"/>
            <ac:graphicFrameMk id="10" creationId="{CCC5EEBB-662F-512D-242D-BA3DE15AF72B}"/>
          </ac:graphicFrameMkLst>
        </pc:graphicFrameChg>
      </pc:sldChg>
      <pc:sldChg chg="addSp delSp modSp mod">
        <pc:chgData name="Steve Nicklin" userId="4d267a5b-9ae4-459a-bbb3-586e46512d6c" providerId="ADAL" clId="{755EEA93-E983-4BE1-8830-68537BDC3B62}" dt="2024-05-16T18:35:51.460" v="25"/>
        <pc:sldMkLst>
          <pc:docMk/>
          <pc:sldMk cId="750340518" sldId="2147472324"/>
        </pc:sldMkLst>
        <pc:graphicFrameChg chg="del">
          <ac:chgData name="Steve Nicklin" userId="4d267a5b-9ae4-459a-bbb3-586e46512d6c" providerId="ADAL" clId="{755EEA93-E983-4BE1-8830-68537BDC3B62}" dt="2024-05-16T18:35:49.606" v="24" actId="478"/>
          <ac:graphicFrameMkLst>
            <pc:docMk/>
            <pc:sldMk cId="750340518" sldId="2147472324"/>
            <ac:graphicFrameMk id="6" creationId="{231A2BDA-4AF1-F52F-FD41-E8B8FA45B1D5}"/>
          </ac:graphicFrameMkLst>
        </pc:graphicFrameChg>
        <pc:graphicFrameChg chg="add mod">
          <ac:chgData name="Steve Nicklin" userId="4d267a5b-9ae4-459a-bbb3-586e46512d6c" providerId="ADAL" clId="{755EEA93-E983-4BE1-8830-68537BDC3B62}" dt="2024-05-16T18:35:51.460" v="25"/>
          <ac:graphicFrameMkLst>
            <pc:docMk/>
            <pc:sldMk cId="750340518" sldId="2147472324"/>
            <ac:graphicFrameMk id="10" creationId="{0249E8B3-EF70-E782-FB79-7458F761C30D}"/>
          </ac:graphicFrameMkLst>
        </pc:graphicFrameChg>
      </pc:sldChg>
      <pc:sldChg chg="modSp mod">
        <pc:chgData name="Steve Nicklin" userId="4d267a5b-9ae4-459a-bbb3-586e46512d6c" providerId="ADAL" clId="{755EEA93-E983-4BE1-8830-68537BDC3B62}" dt="2024-05-13T15:36:19.684" v="5" actId="13926"/>
        <pc:sldMkLst>
          <pc:docMk/>
          <pc:sldMk cId="2046935418" sldId="2147472335"/>
        </pc:sldMkLst>
        <pc:graphicFrameChg chg="modGraphic">
          <ac:chgData name="Steve Nicklin" userId="4d267a5b-9ae4-459a-bbb3-586e46512d6c" providerId="ADAL" clId="{755EEA93-E983-4BE1-8830-68537BDC3B62}" dt="2024-05-13T15:36:18.687" v="4" actId="13926"/>
          <ac:graphicFrameMkLst>
            <pc:docMk/>
            <pc:sldMk cId="2046935418" sldId="2147472335"/>
            <ac:graphicFrameMk id="11" creationId="{B7A90769-1172-8346-79A9-55504F5CE360}"/>
          </ac:graphicFrameMkLst>
        </pc:graphicFrameChg>
        <pc:graphicFrameChg chg="modGraphic">
          <ac:chgData name="Steve Nicklin" userId="4d267a5b-9ae4-459a-bbb3-586e46512d6c" providerId="ADAL" clId="{755EEA93-E983-4BE1-8830-68537BDC3B62}" dt="2024-05-13T15:36:19.684" v="5" actId="13926"/>
          <ac:graphicFrameMkLst>
            <pc:docMk/>
            <pc:sldMk cId="2046935418" sldId="2147472335"/>
            <ac:graphicFrameMk id="14" creationId="{64BDAC3C-9138-E4A4-DEBE-B740E2E9ACDF}"/>
          </ac:graphicFrameMkLst>
        </pc:graphicFrameChg>
      </pc:sldChg>
      <pc:sldChg chg="modSp del mod">
        <pc:chgData name="Steve Nicklin" userId="4d267a5b-9ae4-459a-bbb3-586e46512d6c" providerId="ADAL" clId="{755EEA93-E983-4BE1-8830-68537BDC3B62}" dt="2024-05-16T18:34:19.743" v="16" actId="47"/>
        <pc:sldMkLst>
          <pc:docMk/>
          <pc:sldMk cId="2305561756" sldId="2147472345"/>
        </pc:sldMkLst>
        <pc:spChg chg="mod">
          <ac:chgData name="Steve Nicklin" userId="4d267a5b-9ae4-459a-bbb3-586e46512d6c" providerId="ADAL" clId="{755EEA93-E983-4BE1-8830-68537BDC3B62}" dt="2024-05-16T18:33:07.526" v="12" actId="113"/>
          <ac:spMkLst>
            <pc:docMk/>
            <pc:sldMk cId="2305561756" sldId="2147472345"/>
            <ac:spMk id="3" creationId="{640B9BD7-D74E-FFCE-B36B-B877ACEDFFB9}"/>
          </ac:spMkLst>
        </pc:spChg>
      </pc:sldChg>
      <pc:sldChg chg="del">
        <pc:chgData name="Steve Nicklin" userId="4d267a5b-9ae4-459a-bbb3-586e46512d6c" providerId="ADAL" clId="{755EEA93-E983-4BE1-8830-68537BDC3B62}" dt="2024-05-16T18:34:49.836" v="19" actId="47"/>
        <pc:sldMkLst>
          <pc:docMk/>
          <pc:sldMk cId="1169466354" sldId="2147472346"/>
        </pc:sldMkLst>
      </pc:sldChg>
      <pc:sldChg chg="del">
        <pc:chgData name="Steve Nicklin" userId="4d267a5b-9ae4-459a-bbb3-586e46512d6c" providerId="ADAL" clId="{755EEA93-E983-4BE1-8830-68537BDC3B62}" dt="2024-05-16T18:35:24.145" v="22" actId="47"/>
        <pc:sldMkLst>
          <pc:docMk/>
          <pc:sldMk cId="441695404" sldId="2147472347"/>
        </pc:sldMkLst>
      </pc:sldChg>
      <pc:sldChg chg="del">
        <pc:chgData name="Steve Nicklin" userId="4d267a5b-9ae4-459a-bbb3-586e46512d6c" providerId="ADAL" clId="{755EEA93-E983-4BE1-8830-68537BDC3B62}" dt="2024-05-16T18:35:34.873" v="23" actId="47"/>
        <pc:sldMkLst>
          <pc:docMk/>
          <pc:sldMk cId="543203784" sldId="2147472348"/>
        </pc:sldMkLst>
      </pc:sldChg>
      <pc:sldChg chg="del">
        <pc:chgData name="Steve Nicklin" userId="4d267a5b-9ae4-459a-bbb3-586e46512d6c" providerId="ADAL" clId="{755EEA93-E983-4BE1-8830-68537BDC3B62}" dt="2024-05-16T18:35:59.967" v="26" actId="47"/>
        <pc:sldMkLst>
          <pc:docMk/>
          <pc:sldMk cId="1504737531" sldId="2147472349"/>
        </pc:sldMkLst>
      </pc:sldChg>
    </pc:docChg>
  </pc:docChgLst>
  <pc:docChgLst>
    <pc:chgData name="Erica Parker" userId="5821f3cf-cbb2-40e0-90d1-65feb1595ea1" providerId="ADAL" clId="{B7B4CD77-2AFD-4DCD-9C6E-3A1B378FC367}"/>
    <pc:docChg chg="modSld">
      <pc:chgData name="Erica Parker" userId="5821f3cf-cbb2-40e0-90d1-65feb1595ea1" providerId="ADAL" clId="{B7B4CD77-2AFD-4DCD-9C6E-3A1B378FC367}" dt="2024-04-24T13:13:15.715" v="30" actId="27918"/>
      <pc:docMkLst>
        <pc:docMk/>
      </pc:docMkLst>
      <pc:sldChg chg="mod">
        <pc:chgData name="Erica Parker" userId="5821f3cf-cbb2-40e0-90d1-65feb1595ea1" providerId="ADAL" clId="{B7B4CD77-2AFD-4DCD-9C6E-3A1B378FC367}" dt="2024-04-24T13:09:15.716" v="7" actId="27918"/>
        <pc:sldMkLst>
          <pc:docMk/>
          <pc:sldMk cId="1198017326" sldId="2147472282"/>
        </pc:sldMkLst>
      </pc:sldChg>
      <pc:sldChg chg="mod">
        <pc:chgData name="Erica Parker" userId="5821f3cf-cbb2-40e0-90d1-65feb1595ea1" providerId="ADAL" clId="{B7B4CD77-2AFD-4DCD-9C6E-3A1B378FC367}" dt="2024-04-24T13:13:15.715" v="30" actId="27918"/>
        <pc:sldMkLst>
          <pc:docMk/>
          <pc:sldMk cId="2945765332" sldId="2147472304"/>
        </pc:sldMkLst>
      </pc:sldChg>
      <pc:sldChg chg="mod">
        <pc:chgData name="Erica Parker" userId="5821f3cf-cbb2-40e0-90d1-65feb1595ea1" providerId="ADAL" clId="{B7B4CD77-2AFD-4DCD-9C6E-3A1B378FC367}" dt="2024-04-24T13:10:13.298" v="12" actId="27918"/>
        <pc:sldMkLst>
          <pc:docMk/>
          <pc:sldMk cId="123684563" sldId="2147472322"/>
        </pc:sldMkLst>
      </pc:sldChg>
      <pc:sldChg chg="mod">
        <pc:chgData name="Erica Parker" userId="5821f3cf-cbb2-40e0-90d1-65feb1595ea1" providerId="ADAL" clId="{B7B4CD77-2AFD-4DCD-9C6E-3A1B378FC367}" dt="2024-04-24T13:11:01.383" v="16" actId="27918"/>
        <pc:sldMkLst>
          <pc:docMk/>
          <pc:sldMk cId="1136797289" sldId="2147472323"/>
        </pc:sldMkLst>
      </pc:sldChg>
      <pc:sldChg chg="mod">
        <pc:chgData name="Erica Parker" userId="5821f3cf-cbb2-40e0-90d1-65feb1595ea1" providerId="ADAL" clId="{B7B4CD77-2AFD-4DCD-9C6E-3A1B378FC367}" dt="2024-04-24T13:12:13.062" v="25" actId="27918"/>
        <pc:sldMkLst>
          <pc:docMk/>
          <pc:sldMk cId="750340518" sldId="2147472324"/>
        </pc:sldMkLst>
      </pc:sldChg>
      <pc:sldChg chg="mod">
        <pc:chgData name="Erica Parker" userId="5821f3cf-cbb2-40e0-90d1-65feb1595ea1" providerId="ADAL" clId="{B7B4CD77-2AFD-4DCD-9C6E-3A1B378FC367}" dt="2024-04-24T13:11:40.030" v="20" actId="27918"/>
        <pc:sldMkLst>
          <pc:docMk/>
          <pc:sldMk cId="1831264222" sldId="2147472326"/>
        </pc:sldMkLst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4" Type="http://schemas.openxmlformats.org/officeDocument/2006/relationships/package" Target="../embeddings/Microsoft_Excel_Worksheet.xlsx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9.xlsx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package" Target="../embeddings/Microsoft_Excel_Worksheet10.xlsx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package" Target="../embeddings/Microsoft_Excel_Worksheet11.xlsx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package" Target="../embeddings/Microsoft_Excel_Worksheet12.xlsx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package" Target="../embeddings/Microsoft_Excel_Worksheet13.xlsx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package" Target="../embeddings/Microsoft_Excel_Worksheet14.xlsx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package" Target="../embeddings/Microsoft_Excel_Worksheet15.xlsx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package" Target="../embeddings/Microsoft_Excel_Worksheet16.xlsx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package" Target="../embeddings/Microsoft_Excel_Worksheet17.xlsx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package" Target="../embeddings/Microsoft_Excel_Worksheet18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package" Target="../embeddings/Microsoft_Excel_Worksheet19.xlsx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package" Target="../embeddings/Microsoft_Excel_Worksheet20.xlsx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package" Target="../embeddings/Microsoft_Excel_Worksheet21.xlsx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package" Target="../embeddings/Microsoft_Excel_Worksheet22.xlsx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package" Target="../embeddings/Microsoft_Excel_Worksheet23.xlsx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25.xml"/><Relationship Id="rId1" Type="http://schemas.microsoft.com/office/2011/relationships/chartStyle" Target="style25.xml"/><Relationship Id="rId4" Type="http://schemas.openxmlformats.org/officeDocument/2006/relationships/package" Target="../embeddings/Microsoft_Excel_Worksheet24.xlsx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26.xml"/><Relationship Id="rId1" Type="http://schemas.microsoft.com/office/2011/relationships/chartStyle" Target="style26.xml"/><Relationship Id="rId4" Type="http://schemas.openxmlformats.org/officeDocument/2006/relationships/package" Target="../embeddings/Microsoft_Excel_Worksheet25.xlsx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package" Target="../embeddings/Microsoft_Excel_Worksheet26.xlsx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28.xml"/><Relationship Id="rId1" Type="http://schemas.microsoft.com/office/2011/relationships/chartStyle" Target="style28.xml"/><Relationship Id="rId4" Type="http://schemas.openxmlformats.org/officeDocument/2006/relationships/package" Target="../embeddings/Microsoft_Excel_Worksheet27.xlsx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package" Target="../embeddings/Microsoft_Excel_Worksheet28.xlsx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9.xlsx"/><Relationship Id="rId2" Type="http://schemas.microsoft.com/office/2011/relationships/chartColorStyle" Target="colors30.xml"/><Relationship Id="rId1" Type="http://schemas.microsoft.com/office/2011/relationships/chartStyle" Target="style30.xm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0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32.xml"/><Relationship Id="rId1" Type="http://schemas.microsoft.com/office/2011/relationships/chartStyle" Target="style32.xml"/><Relationship Id="rId4" Type="http://schemas.openxmlformats.org/officeDocument/2006/relationships/package" Target="../embeddings/Microsoft_Excel_Worksheet31.xlsx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2.xlsx"/><Relationship Id="rId2" Type="http://schemas.microsoft.com/office/2011/relationships/chartColorStyle" Target="colors33.xml"/><Relationship Id="rId1" Type="http://schemas.microsoft.com/office/2011/relationships/chartStyle" Target="style33.xm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package" Target="../embeddings/Microsoft_Excel_Worksheet33.xlsx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35.xml"/><Relationship Id="rId1" Type="http://schemas.microsoft.com/office/2011/relationships/chartStyle" Target="style35.xml"/><Relationship Id="rId4" Type="http://schemas.openxmlformats.org/officeDocument/2006/relationships/package" Target="../embeddings/Microsoft_Excel_Worksheet34.xlsx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5.xlsx"/><Relationship Id="rId2" Type="http://schemas.microsoft.com/office/2011/relationships/chartColorStyle" Target="colors36.xml"/><Relationship Id="rId1" Type="http://schemas.microsoft.com/office/2011/relationships/chartStyle" Target="style36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package" Target="../embeddings/Microsoft_Excel_Worksheet4.xlsx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package" Target="../embeddings/Microsoft_Excel_Worksheet6.xlsx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7.xlsx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8.xlsx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8106760426612766"/>
          <c:y val="0"/>
          <c:w val="0.50804617668112428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Gen Pop</c:v>
                </c:pt>
              </c:strCache>
            </c:strRef>
          </c:tx>
          <c:spPr>
            <a:solidFill>
              <a:srgbClr val="019EDB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AEAA-4F32-9C77-54118826BA67}"/>
              </c:ext>
            </c:extLst>
          </c:dPt>
          <c:dPt>
            <c:idx val="2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8-AEAA-4F32-9C77-54118826BA67}"/>
              </c:ext>
            </c:extLst>
          </c:dPt>
          <c:dPt>
            <c:idx val="3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AEAA-4F32-9C77-54118826BA67}"/>
              </c:ext>
            </c:extLst>
          </c:dPt>
          <c:dPt>
            <c:idx val="4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AEAA-4F32-9C77-54118826BA67}"/>
              </c:ext>
            </c:extLst>
          </c:dPt>
          <c:dPt>
            <c:idx val="5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91F3-4DAF-BBA8-7679F979A0A5}"/>
              </c:ext>
            </c:extLst>
          </c:dPt>
          <c:dPt>
            <c:idx val="6"/>
            <c:invertIfNegative val="0"/>
            <c:bubble3D val="0"/>
            <c:spPr>
              <a:solidFill>
                <a:srgbClr val="FFFFFF">
                  <a:lumMod val="75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1F3-4DAF-BBA8-7679F979A0A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Digital out-of-home</c:v>
                </c:pt>
                <c:pt idx="1">
                  <c:v>Television/Streaming Video</c:v>
                </c:pt>
                <c:pt idx="2">
                  <c:v>Social media</c:v>
                </c:pt>
                <c:pt idx="3">
                  <c:v>Online media, websites, and search engines</c:v>
                </c:pt>
                <c:pt idx="4">
                  <c:v>Radio, podcasts, and audio streaming</c:v>
                </c:pt>
                <c:pt idx="5">
                  <c:v>Magazines or newspapers</c:v>
                </c:pt>
                <c:pt idx="6">
                  <c:v>None of these 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73</c:v>
                </c:pt>
                <c:pt idx="1">
                  <c:v>0.5</c:v>
                </c:pt>
                <c:pt idx="2">
                  <c:v>0.48</c:v>
                </c:pt>
                <c:pt idx="3">
                  <c:v>0.37</c:v>
                </c:pt>
                <c:pt idx="4">
                  <c:v>0.32</c:v>
                </c:pt>
                <c:pt idx="5">
                  <c:v>0.31</c:v>
                </c:pt>
                <c:pt idx="6">
                  <c:v>0.1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AA-4F32-9C77-54118826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30770384"/>
        <c:axId val="845554192"/>
      </c:barChart>
      <c:catAx>
        <c:axId val="9307703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900310848200227"/>
          <c:y val="3.916925294954008E-2"/>
          <c:w val="0.49200129743393917"/>
          <c:h val="0.9345825810939520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Yes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401-47A6-B352-EA156B687F6B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401-47A6-B352-EA156B687F6B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401-47A6-B352-EA156B687F6B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401-47A6-B352-EA156B687F6B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401-47A6-B352-EA156B687F6B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5</c:f>
              <c:strCache>
                <c:ptCount val="24"/>
                <c:pt idx="0">
                  <c:v>Private Vehicles*</c:v>
                </c:pt>
                <c:pt idx="1">
                  <c:v>Flyers**</c:v>
                </c:pt>
                <c:pt idx="2">
                  <c:v>Walkers*</c:v>
                </c:pt>
                <c:pt idx="3">
                  <c:v>Public Transit Users*</c:v>
                </c:pt>
                <c:pt idx="4">
                  <c:v>Rail Users*</c:v>
                </c:pt>
                <c:pt idx="6">
                  <c:v>Key Transit Market Residents</c:v>
                </c:pt>
                <c:pt idx="8">
                  <c:v>Rural</c:v>
                </c:pt>
                <c:pt idx="9">
                  <c:v>Suburban</c:v>
                </c:pt>
                <c:pt idx="10">
                  <c:v>Urban &lt;1M</c:v>
                </c:pt>
                <c:pt idx="11">
                  <c:v>Urban 1M+</c:v>
                </c:pt>
                <c:pt idx="13">
                  <c:v>White</c:v>
                </c:pt>
                <c:pt idx="14">
                  <c:v>Hispanic</c:v>
                </c:pt>
                <c:pt idx="15">
                  <c:v>Black</c:v>
                </c:pt>
                <c:pt idx="17">
                  <c:v>Boomer +</c:v>
                </c:pt>
                <c:pt idx="18">
                  <c:v>Gen X</c:v>
                </c:pt>
                <c:pt idx="19">
                  <c:v>Millennial</c:v>
                </c:pt>
                <c:pt idx="20">
                  <c:v>Gen Z</c:v>
                </c:pt>
                <c:pt idx="22">
                  <c:v>Women</c:v>
                </c:pt>
                <c:pt idx="23">
                  <c:v>Men</c:v>
                </c:pt>
              </c:strCache>
            </c:strRef>
          </c:cat>
          <c:val>
            <c:numRef>
              <c:f>Sheet1!$B$2:$B$25</c:f>
              <c:numCache>
                <c:formatCode>0%</c:formatCode>
                <c:ptCount val="24"/>
                <c:pt idx="0">
                  <c:v>0.76</c:v>
                </c:pt>
                <c:pt idx="1">
                  <c:v>0.81</c:v>
                </c:pt>
                <c:pt idx="2">
                  <c:v>0.83</c:v>
                </c:pt>
                <c:pt idx="3">
                  <c:v>0.89</c:v>
                </c:pt>
                <c:pt idx="4">
                  <c:v>0.9</c:v>
                </c:pt>
                <c:pt idx="6">
                  <c:v>0.81</c:v>
                </c:pt>
                <c:pt idx="8">
                  <c:v>0.69</c:v>
                </c:pt>
                <c:pt idx="9">
                  <c:v>0.74</c:v>
                </c:pt>
                <c:pt idx="10">
                  <c:v>0.73</c:v>
                </c:pt>
                <c:pt idx="11">
                  <c:v>0.82</c:v>
                </c:pt>
                <c:pt idx="13">
                  <c:v>0.7</c:v>
                </c:pt>
                <c:pt idx="14">
                  <c:v>0.83</c:v>
                </c:pt>
                <c:pt idx="15">
                  <c:v>0.88</c:v>
                </c:pt>
                <c:pt idx="17">
                  <c:v>0.51</c:v>
                </c:pt>
                <c:pt idx="18">
                  <c:v>0.74</c:v>
                </c:pt>
                <c:pt idx="19">
                  <c:v>0.84</c:v>
                </c:pt>
                <c:pt idx="20">
                  <c:v>0.83</c:v>
                </c:pt>
                <c:pt idx="22">
                  <c:v>0.71</c:v>
                </c:pt>
                <c:pt idx="23">
                  <c:v>0.8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4401-47A6-B352-EA156B687F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13047296"/>
        <c:axId val="206826880"/>
      </c:barChart>
      <c:catAx>
        <c:axId val="21304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6880"/>
        <c:crosses val="autoZero"/>
        <c:auto val="1"/>
        <c:lblAlgn val="ctr"/>
        <c:lblOffset val="100"/>
        <c:noMultiLvlLbl val="0"/>
      </c:catAx>
      <c:valAx>
        <c:axId val="20682688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1304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 i="0">
          <a:solidFill>
            <a:schemeClr val="tx1"/>
          </a:solidFill>
          <a:latin typeface="Helvetica" pitchFamily="2" charset="0"/>
        </a:defRPr>
      </a:pPr>
      <a:endParaRPr lang="en-US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5131862838433037"/>
          <c:y val="0.34857136145762241"/>
          <c:w val="0.36322633248907177"/>
          <c:h val="0.4971072271688619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Never/Rarely (NET)</c:v>
                </c:pt>
              </c:strCache>
            </c:strRef>
          </c:tx>
          <c:spPr>
            <a:solidFill>
              <a:srgbClr val="FFFFFF">
                <a:lumMod val="95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Billboard or poster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F08-4FC0-9A24-026E1334B916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Sometimes</c:v>
                </c:pt>
              </c:strCache>
            </c:strRef>
          </c:tx>
          <c:spPr>
            <a:solidFill>
              <a:srgbClr val="00CF9C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Billboard or poster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F08-4FC0-9A24-026E1334B91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ll/Most of the time (NET)</c:v>
                </c:pt>
              </c:strCache>
            </c:strRef>
          </c:tx>
          <c:spPr>
            <a:solidFill>
              <a:srgbClr val="00CF9C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Billboard or poster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DF08-4FC0-9A24-026E1334B91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4.0598078424219149E-2"/>
          <c:y val="0.51027849806013126"/>
          <c:w val="0.34517337397403441"/>
          <c:h val="0.1716939692465897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868419470055221"/>
          <c:y val="0.34194200882434694"/>
          <c:w val="0.34800205307998966"/>
          <c:h val="0.4142403192529188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% Impact</c:v>
                </c:pt>
              </c:strCache>
            </c:strRef>
          </c:tx>
          <c:spPr>
            <a:solidFill>
              <a:srgbClr val="00CF9C"/>
            </a:solidFill>
            <a:ln>
              <a:solidFill>
                <a:srgbClr val="00CF9C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billboard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08-4C99-AE45-50EABFF5E035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% No Impact</c:v>
                </c:pt>
              </c:strCache>
            </c:strRef>
          </c:tx>
          <c:spPr>
            <a:noFill/>
            <a:ln>
              <a:solidFill>
                <a:srgbClr val="00CF9C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igital billboard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08-4C99-AE45-50EABFF5E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9995246225163226"/>
          <c:y val="0"/>
          <c:w val="0.41203222346785551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al Billboard/Poster (A)</c:v>
                </c:pt>
              </c:strCache>
            </c:strRef>
          </c:tx>
          <c:spPr>
            <a:solidFill>
              <a:srgbClr val="00CF9C">
                <a:lumMod val="60000"/>
                <a:lumOff val="40000"/>
                <a:alpha val="74902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CF9C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6-49C6-9D28-CF6886CA2258}"/>
              </c:ext>
            </c:extLst>
          </c:dPt>
          <c:dPt>
            <c:idx val="6"/>
            <c:invertIfNegative val="0"/>
            <c:bubble3D val="0"/>
            <c:spPr>
              <a:solidFill>
                <a:srgbClr val="00CF9C">
                  <a:lumMod val="60000"/>
                  <a:lumOff val="40000"/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36-9540-AAF7-04ABB92577B6}"/>
              </c:ext>
            </c:extLst>
          </c:dPt>
          <c:dPt>
            <c:idx val="9"/>
            <c:invertIfNegative val="0"/>
            <c:bubble3D val="0"/>
            <c:spPr>
              <a:solidFill>
                <a:srgbClr val="00CF9C">
                  <a:lumMod val="60000"/>
                  <a:lumOff val="40000"/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6-49C6-9D28-CF6886CA2258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fld id="{B54228AA-8AFF-1F44-8801-5C57A40E62EA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726-49C6-9D28-CF6886CA22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ny action (NET)</c:v>
                </c:pt>
                <c:pt idx="1">
                  <c:v>Watched an advertised show or program on a TV</c:v>
                </c:pt>
                <c:pt idx="2">
                  <c:v>Visited a restaurant advertised</c:v>
                </c:pt>
                <c:pt idx="3">
                  <c:v>Talked about the advertisement or product with others</c:v>
                </c:pt>
                <c:pt idx="4">
                  <c:v>Made a purchase at a store advertised</c:v>
                </c:pt>
                <c:pt idx="5">
                  <c:v>Visited a store or business advertised</c:v>
                </c:pt>
                <c:pt idx="6">
                  <c:v>Watched an advertised movie in the theater</c:v>
                </c:pt>
                <c:pt idx="7">
                  <c:v>Recommended the advertised product or brand to others</c:v>
                </c:pt>
                <c:pt idx="8">
                  <c:v>Tuned to a radio station</c:v>
                </c:pt>
                <c:pt idx="9">
                  <c:v>Attended an advertised sporting event, festival, concert, performance, or other public event</c:v>
                </c:pt>
                <c:pt idx="10">
                  <c:v>Something else</c:v>
                </c:pt>
                <c:pt idx="11">
                  <c:v>None of these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78359201999999994</c:v>
                </c:pt>
                <c:pt idx="1">
                  <c:v>0.40840156999999999</c:v>
                </c:pt>
                <c:pt idx="2">
                  <c:v>0.39812985000000001</c:v>
                </c:pt>
                <c:pt idx="3">
                  <c:v>0.34232352999999999</c:v>
                </c:pt>
                <c:pt idx="4">
                  <c:v>0.32016563999999997</c:v>
                </c:pt>
                <c:pt idx="5">
                  <c:v>0.31804262</c:v>
                </c:pt>
                <c:pt idx="6">
                  <c:v>0.31309055000000002</c:v>
                </c:pt>
                <c:pt idx="7">
                  <c:v>0.25169159000000002</c:v>
                </c:pt>
                <c:pt idx="8">
                  <c:v>0.21300342</c:v>
                </c:pt>
                <c:pt idx="9">
                  <c:v>0.19302025</c:v>
                </c:pt>
                <c:pt idx="10">
                  <c:v>5.48052E-3</c:v>
                </c:pt>
                <c:pt idx="11">
                  <c:v>0.216407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726-49C6-9D28-CF6886CA22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71083280658106829"/>
          <c:y val="1.1289585994422432E-3"/>
          <c:w val="0.52853162268597753"/>
          <c:h val="0.9988710414005577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al Billboard/Poster (A)</c:v>
                </c:pt>
              </c:strCache>
            </c:strRef>
          </c:tx>
          <c:spPr>
            <a:solidFill>
              <a:srgbClr val="00CF9C">
                <a:lumMod val="60000"/>
                <a:lumOff val="40000"/>
                <a:alpha val="74902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CF9C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3E-AC44-B2B3-6D4B7E539F77}"/>
              </c:ext>
            </c:extLst>
          </c:dPt>
          <c:dPt>
            <c:idx val="8"/>
            <c:invertIfNegative val="0"/>
            <c:bubble3D val="0"/>
            <c:spPr>
              <a:solidFill>
                <a:srgbClr val="00CF9C">
                  <a:lumMod val="60000"/>
                  <a:lumOff val="40000"/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3E-AC44-B2B3-6D4B7E539F77}"/>
              </c:ext>
            </c:extLst>
          </c:dPt>
          <c:dPt>
            <c:idx val="9"/>
            <c:invertIfNegative val="0"/>
            <c:bubble3D val="0"/>
            <c:spPr>
              <a:solidFill>
                <a:srgbClr val="00CF9C">
                  <a:lumMod val="60000"/>
                  <a:lumOff val="40000"/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3E-AC44-B2B3-6D4B7E539F77}"/>
              </c:ext>
            </c:extLst>
          </c:dPt>
          <c:dPt>
            <c:idx val="11"/>
            <c:invertIfNegative val="0"/>
            <c:bubble3D val="0"/>
            <c:spPr>
              <a:solidFill>
                <a:srgbClr val="00CF9C">
                  <a:lumMod val="60000"/>
                  <a:lumOff val="40000"/>
                  <a:alpha val="74902"/>
                </a:srgbClr>
              </a:solidFill>
              <a:ln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3E-AC44-B2B3-6D4B7E539F77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553E-AC44-B2B3-6D4B7E539F77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D624F3C-C89A-3D44-BE7A-E19D79247507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553E-AC44-B2B3-6D4B7E539F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ny Action (NET)</c:v>
                </c:pt>
                <c:pt idx="1">
                  <c:v>Used online search to look up information about the advertiser</c:v>
                </c:pt>
                <c:pt idx="2">
                  <c:v>Visited an advertiser's website</c:v>
                </c:pt>
                <c:pt idx="3">
                  <c:v>Visited an advertiser's social media site</c:v>
                </c:pt>
                <c:pt idx="4">
                  <c:v>Downloaded or used an app shown in the advertisement</c:v>
                </c:pt>
                <c:pt idx="5">
                  <c:v>Watched an advertised show or program</c:v>
                </c:pt>
                <c:pt idx="6">
                  <c:v>Accessed a coupon, discount code, or other information using a QR code, swipe, tap, or SMS/text technology</c:v>
                </c:pt>
                <c:pt idx="7">
                  <c:v>Ordered an advertiser's product online</c:v>
                </c:pt>
                <c:pt idx="8">
                  <c:v>Interacted with an advertisement such as sending a message, uploading a photo, or voting</c:v>
                </c:pt>
                <c:pt idx="9">
                  <c:v>Called a phone number advertised</c:v>
                </c:pt>
                <c:pt idx="10">
                  <c:v>Posted about the advertisement or product on a social media platform or blog</c:v>
                </c:pt>
                <c:pt idx="11">
                  <c:v>Something else</c:v>
                </c:pt>
                <c:pt idx="12">
                  <c:v>None of these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77096429999999994</c:v>
                </c:pt>
                <c:pt idx="1">
                  <c:v>0.47489121000000001</c:v>
                </c:pt>
                <c:pt idx="2">
                  <c:v>0.40171287</c:v>
                </c:pt>
                <c:pt idx="3">
                  <c:v>0.33521712999999997</c:v>
                </c:pt>
                <c:pt idx="4">
                  <c:v>0.29071617999999999</c:v>
                </c:pt>
                <c:pt idx="5">
                  <c:v>0.28150895999999997</c:v>
                </c:pt>
                <c:pt idx="6">
                  <c:v>0.26515433999999999</c:v>
                </c:pt>
                <c:pt idx="7">
                  <c:v>0.24595603999999999</c:v>
                </c:pt>
                <c:pt idx="8">
                  <c:v>0.17730829000000001</c:v>
                </c:pt>
                <c:pt idx="9">
                  <c:v>0.17540017999999999</c:v>
                </c:pt>
                <c:pt idx="10">
                  <c:v>0.15765468999999999</c:v>
                </c:pt>
                <c:pt idx="11">
                  <c:v>0</c:v>
                </c:pt>
                <c:pt idx="12">
                  <c:v>0.22903570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53E-AC44-B2B3-6D4B7E539F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7415504749795359"/>
          <c:y val="0.34194200882434694"/>
          <c:w val="0.34800205307998966"/>
          <c:h val="0.4142403192529188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% Impact</c:v>
                </c:pt>
              </c:strCache>
            </c:strRef>
          </c:tx>
          <c:spPr>
            <a:solidFill>
              <a:srgbClr val="019EDB"/>
            </a:solidFill>
            <a:ln>
              <a:solidFill>
                <a:srgbClr val="019EDB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Street level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08-4C99-AE45-50EABFF5E035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% No Impact</c:v>
                </c:pt>
              </c:strCache>
            </c:strRef>
          </c:tx>
          <c:spPr>
            <a:noFill/>
            <a:ln>
              <a:solidFill>
                <a:srgbClr val="019EDB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Street level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08-4C99-AE45-50EABFF5E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5131862838433037"/>
          <c:y val="0.34857136145762241"/>
          <c:w val="0.36322633248907177"/>
          <c:h val="0.4971072271688619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Never/Rarely (NET)</c:v>
                </c:pt>
              </c:strCache>
            </c:strRef>
          </c:tx>
          <c:spPr>
            <a:solidFill>
              <a:srgbClr val="FFFFFF">
                <a:lumMod val="95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Street Level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3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2EF-421A-98FA-C5DAE2991FC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Sometimes</c:v>
                </c:pt>
              </c:strCache>
            </c:strRef>
          </c:tx>
          <c:spPr>
            <a:solidFill>
              <a:srgbClr val="019EDB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Street Level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2EF-421A-98FA-C5DAE2991F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ll/Most of the time (NET)</c:v>
                </c:pt>
              </c:strCache>
            </c:strRef>
          </c:tx>
          <c:spPr>
            <a:solidFill>
              <a:srgbClr val="019EDB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Street Level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2EF-421A-98FA-C5DAE2991F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3.0448558818164363E-2"/>
          <c:y val="0.49039044016030503"/>
          <c:w val="0.37308455289068509"/>
          <c:h val="0.168379292929952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9995246225163226"/>
          <c:y val="0"/>
          <c:w val="0.41203222346785551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al Street Level (B)</c:v>
                </c:pt>
              </c:strCache>
            </c:strRef>
          </c:tx>
          <c:spPr>
            <a:solidFill>
              <a:srgbClr val="41B6E4">
                <a:alpha val="74902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19EDB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6-49C6-9D28-CF6886CA2258}"/>
              </c:ext>
            </c:extLst>
          </c:dPt>
          <c:dPt>
            <c:idx val="6"/>
            <c:invertIfNegative val="0"/>
            <c:bubble3D val="0"/>
            <c:spPr>
              <a:solidFill>
                <a:srgbClr val="41B6E4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36-9540-AAF7-04ABB92577B6}"/>
              </c:ext>
            </c:extLst>
          </c:dPt>
          <c:dPt>
            <c:idx val="9"/>
            <c:invertIfNegative val="0"/>
            <c:bubble3D val="0"/>
            <c:spPr>
              <a:solidFill>
                <a:srgbClr val="41B6E4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6-49C6-9D28-CF6886CA2258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fld id="{B54228AA-8AFF-1F44-8801-5C57A40E62EA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726-49C6-9D28-CF6886CA22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ny action (NET)</c:v>
                </c:pt>
                <c:pt idx="1">
                  <c:v>Visited a restaurant advertised</c:v>
                </c:pt>
                <c:pt idx="2">
                  <c:v>Watched an advertised show or program on a TV</c:v>
                </c:pt>
                <c:pt idx="3">
                  <c:v>Visited a store or business advertised</c:v>
                </c:pt>
                <c:pt idx="4">
                  <c:v>Made a purchase at a store advertised</c:v>
                </c:pt>
                <c:pt idx="5">
                  <c:v>Talked about the advertisement or product with others</c:v>
                </c:pt>
                <c:pt idx="6">
                  <c:v>Watched an advertised movie in the theater</c:v>
                </c:pt>
                <c:pt idx="7">
                  <c:v>Recommended the advertised product or brand to others</c:v>
                </c:pt>
                <c:pt idx="8">
                  <c:v>Tuned to a radio station</c:v>
                </c:pt>
                <c:pt idx="9">
                  <c:v>Attended an advertised sporting event, festival, concert, performance, or other public event</c:v>
                </c:pt>
                <c:pt idx="10">
                  <c:v>Something else</c:v>
                </c:pt>
                <c:pt idx="11">
                  <c:v>None of these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86295918000000005</c:v>
                </c:pt>
                <c:pt idx="1">
                  <c:v>0.45883394000000011</c:v>
                </c:pt>
                <c:pt idx="2">
                  <c:v>0.45343381999999999</c:v>
                </c:pt>
                <c:pt idx="3">
                  <c:v>0.38590982000000001</c:v>
                </c:pt>
                <c:pt idx="4">
                  <c:v>0.36598322000000011</c:v>
                </c:pt>
                <c:pt idx="5">
                  <c:v>0.36301877999999999</c:v>
                </c:pt>
                <c:pt idx="6">
                  <c:v>0.33585165000000011</c:v>
                </c:pt>
                <c:pt idx="7">
                  <c:v>0.28650020999999998</c:v>
                </c:pt>
                <c:pt idx="8">
                  <c:v>0.22867845000000001</c:v>
                </c:pt>
                <c:pt idx="9">
                  <c:v>0.22408116</c:v>
                </c:pt>
                <c:pt idx="10">
                  <c:v>6.4604500000000004E-3</c:v>
                </c:pt>
                <c:pt idx="11">
                  <c:v>0.13704082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726-49C6-9D28-CF6886CA22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71083280658106829"/>
          <c:y val="1.1289585994422432E-3"/>
          <c:w val="0.52853162268597753"/>
          <c:h val="0.9988710414005577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al Street Level (B)</c:v>
                </c:pt>
              </c:strCache>
            </c:strRef>
          </c:tx>
          <c:spPr>
            <a:solidFill>
              <a:srgbClr val="41B6E4">
                <a:alpha val="74902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19EDB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3E-AC44-B2B3-6D4B7E539F77}"/>
              </c:ext>
            </c:extLst>
          </c:dPt>
          <c:dPt>
            <c:idx val="8"/>
            <c:invertIfNegative val="0"/>
            <c:bubble3D val="0"/>
            <c:spPr>
              <a:solidFill>
                <a:srgbClr val="41B6E4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3E-AC44-B2B3-6D4B7E539F77}"/>
              </c:ext>
            </c:extLst>
          </c:dPt>
          <c:dPt>
            <c:idx val="9"/>
            <c:invertIfNegative val="0"/>
            <c:bubble3D val="0"/>
            <c:spPr>
              <a:solidFill>
                <a:srgbClr val="41B6E4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3E-AC44-B2B3-6D4B7E539F77}"/>
              </c:ext>
            </c:extLst>
          </c:dPt>
          <c:dPt>
            <c:idx val="11"/>
            <c:invertIfNegative val="0"/>
            <c:bubble3D val="0"/>
            <c:spPr>
              <a:solidFill>
                <a:srgbClr val="41B6E4">
                  <a:alpha val="74902"/>
                </a:srgbClr>
              </a:solidFill>
              <a:ln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3E-AC44-B2B3-6D4B7E539F77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553E-AC44-B2B3-6D4B7E539F77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D624F3C-C89A-3D44-BE7A-E19D79247507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553E-AC44-B2B3-6D4B7E539F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ny Action (NET)</c:v>
                </c:pt>
                <c:pt idx="1">
                  <c:v>Used online search to look up information about the advertiser</c:v>
                </c:pt>
                <c:pt idx="2">
                  <c:v>Visited an advertiser's website</c:v>
                </c:pt>
                <c:pt idx="3">
                  <c:v>Visited an advertiser's social media site</c:v>
                </c:pt>
                <c:pt idx="4">
                  <c:v>Downloaded or used an app shown in the advertisement</c:v>
                </c:pt>
                <c:pt idx="5">
                  <c:v>Watched an advertised show or program</c:v>
                </c:pt>
                <c:pt idx="6">
                  <c:v>Ordered an advertiser's product online</c:v>
                </c:pt>
                <c:pt idx="7">
                  <c:v>Accessed a coupon, discount code, or other information using a QR code, swipe, tap, or SMS/text technology</c:v>
                </c:pt>
                <c:pt idx="8">
                  <c:v>Interacted with an advertisement such as sending a message, uploading a photo, or voting</c:v>
                </c:pt>
                <c:pt idx="9">
                  <c:v>Called a phone number advertised</c:v>
                </c:pt>
                <c:pt idx="10">
                  <c:v>Posted about the advertisement or product on a social media platform or blog</c:v>
                </c:pt>
                <c:pt idx="11">
                  <c:v>Something else</c:v>
                </c:pt>
                <c:pt idx="12">
                  <c:v>None of these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83566671000000003</c:v>
                </c:pt>
                <c:pt idx="1">
                  <c:v>0.47793186999999998</c:v>
                </c:pt>
                <c:pt idx="2">
                  <c:v>0.43148013000000002</c:v>
                </c:pt>
                <c:pt idx="3">
                  <c:v>0.36521923000000001</c:v>
                </c:pt>
                <c:pt idx="4">
                  <c:v>0.33153177</c:v>
                </c:pt>
                <c:pt idx="5">
                  <c:v>0.3209804</c:v>
                </c:pt>
                <c:pt idx="6">
                  <c:v>0.30116947999999999</c:v>
                </c:pt>
                <c:pt idx="7">
                  <c:v>0.29490759</c:v>
                </c:pt>
                <c:pt idx="8">
                  <c:v>0.21984308</c:v>
                </c:pt>
                <c:pt idx="9">
                  <c:v>0.19496588000000001</c:v>
                </c:pt>
                <c:pt idx="10">
                  <c:v>0.17849767999999999</c:v>
                </c:pt>
                <c:pt idx="11">
                  <c:v>0</c:v>
                </c:pt>
                <c:pt idx="12">
                  <c:v>0.16433328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53E-AC44-B2B3-6D4B7E539F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5131862838433037"/>
          <c:y val="0.34857136145762241"/>
          <c:w val="0.36322633248907177"/>
          <c:h val="0.4971072271688619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Never/Rarely (NET)</c:v>
                </c:pt>
              </c:strCache>
            </c:strRef>
          </c:tx>
          <c:spPr>
            <a:solidFill>
              <a:srgbClr val="FFFFFF">
                <a:lumMod val="95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Transit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AA-4BE1-A5C6-6BF002A8B3C9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Sometimes</c:v>
                </c:pt>
              </c:strCache>
            </c:strRef>
          </c:tx>
          <c:spPr>
            <a:solidFill>
              <a:srgbClr val="FF8769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Transit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1AA-4BE1-A5C6-6BF002A8B3C9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ll/Most of the time (NET)</c:v>
                </c:pt>
              </c:strCache>
            </c:strRef>
          </c:tx>
          <c:spPr>
            <a:solidFill>
              <a:srgbClr val="FF8769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Transit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1AA-4BE1-A5C6-6BF002A8B3C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5.0747598030273941E-2"/>
          <c:y val="0.48707576384366741"/>
          <c:w val="0.32994909456495225"/>
          <c:h val="0.155120587663401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900310848200227"/>
          <c:y val="3.916925294954008E-2"/>
          <c:w val="0.49200129743393917"/>
          <c:h val="0.9345825810939520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Ye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1CEC-46F5-A85B-4C0278E20CA3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1CEC-46F5-A85B-4C0278E20CA3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1CEC-46F5-A85B-4C0278E20CA3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1CEC-46F5-A85B-4C0278E20CA3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1CEC-46F5-A85B-4C0278E20CA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5</c:f>
              <c:strCache>
                <c:ptCount val="24"/>
                <c:pt idx="0">
                  <c:v>Private Vehicles*</c:v>
                </c:pt>
                <c:pt idx="1">
                  <c:v>Walkers*</c:v>
                </c:pt>
                <c:pt idx="2">
                  <c:v>Flyers**</c:v>
                </c:pt>
                <c:pt idx="3">
                  <c:v>Public Transit Users*</c:v>
                </c:pt>
                <c:pt idx="4">
                  <c:v>Rail Users*</c:v>
                </c:pt>
                <c:pt idx="6">
                  <c:v>Key Transit Market Residents</c:v>
                </c:pt>
                <c:pt idx="8">
                  <c:v>Rural</c:v>
                </c:pt>
                <c:pt idx="9">
                  <c:v>Suburban</c:v>
                </c:pt>
                <c:pt idx="10">
                  <c:v>Urban &lt;1M</c:v>
                </c:pt>
                <c:pt idx="11">
                  <c:v>Urban 1M+</c:v>
                </c:pt>
                <c:pt idx="13">
                  <c:v>White</c:v>
                </c:pt>
                <c:pt idx="14">
                  <c:v>Hispanic</c:v>
                </c:pt>
                <c:pt idx="15">
                  <c:v>Black</c:v>
                </c:pt>
                <c:pt idx="17">
                  <c:v>Boomer +</c:v>
                </c:pt>
                <c:pt idx="18">
                  <c:v>Gen X</c:v>
                </c:pt>
                <c:pt idx="19">
                  <c:v>Millennial</c:v>
                </c:pt>
                <c:pt idx="20">
                  <c:v>Gen Z</c:v>
                </c:pt>
                <c:pt idx="22">
                  <c:v>Women</c:v>
                </c:pt>
                <c:pt idx="23">
                  <c:v>Men</c:v>
                </c:pt>
              </c:strCache>
            </c:strRef>
          </c:cat>
          <c:val>
            <c:numRef>
              <c:f>Sheet1!$B$2:$B$25</c:f>
              <c:numCache>
                <c:formatCode>0%</c:formatCode>
                <c:ptCount val="24"/>
                <c:pt idx="0">
                  <c:v>0.73</c:v>
                </c:pt>
                <c:pt idx="1">
                  <c:v>0.77</c:v>
                </c:pt>
                <c:pt idx="2">
                  <c:v>0.81</c:v>
                </c:pt>
                <c:pt idx="3">
                  <c:v>0.85</c:v>
                </c:pt>
                <c:pt idx="4">
                  <c:v>0.86</c:v>
                </c:pt>
                <c:pt idx="6">
                  <c:v>0.75</c:v>
                </c:pt>
                <c:pt idx="8">
                  <c:v>0.65</c:v>
                </c:pt>
                <c:pt idx="9">
                  <c:v>0.68</c:v>
                </c:pt>
                <c:pt idx="10">
                  <c:v>0.68</c:v>
                </c:pt>
                <c:pt idx="11">
                  <c:v>0.81</c:v>
                </c:pt>
                <c:pt idx="13">
                  <c:v>0.69</c:v>
                </c:pt>
                <c:pt idx="14">
                  <c:v>0.80809617</c:v>
                </c:pt>
                <c:pt idx="15">
                  <c:v>0.71</c:v>
                </c:pt>
                <c:pt idx="17">
                  <c:v>0.62</c:v>
                </c:pt>
                <c:pt idx="18">
                  <c:v>0.71</c:v>
                </c:pt>
                <c:pt idx="19">
                  <c:v>0.74</c:v>
                </c:pt>
                <c:pt idx="20">
                  <c:v>0.8</c:v>
                </c:pt>
                <c:pt idx="22">
                  <c:v>0.67</c:v>
                </c:pt>
                <c:pt idx="23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1CEC-46F5-A85B-4C0278E20CA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13047296"/>
        <c:axId val="206826880"/>
      </c:barChart>
      <c:catAx>
        <c:axId val="21304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6880"/>
        <c:crosses val="autoZero"/>
        <c:auto val="1"/>
        <c:lblAlgn val="ctr"/>
        <c:lblOffset val="100"/>
        <c:noMultiLvlLbl val="0"/>
      </c:catAx>
      <c:valAx>
        <c:axId val="20682688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1304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 i="0">
          <a:solidFill>
            <a:schemeClr val="tx1"/>
          </a:solidFill>
          <a:latin typeface="Helvetica" pitchFamily="2" charset="0"/>
        </a:defRPr>
      </a:pPr>
      <a:endParaRPr lang="en-US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7415504749795359"/>
          <c:y val="0.39166215357391265"/>
          <c:w val="0.34800205307998966"/>
          <c:h val="0.4142403192529188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% Impact</c:v>
                </c:pt>
              </c:strCache>
            </c:strRef>
          </c:tx>
          <c:spPr>
            <a:solidFill>
              <a:srgbClr val="FF8769"/>
            </a:solidFill>
            <a:ln>
              <a:solidFill>
                <a:srgbClr val="FF8769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Transit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08-4C99-AE45-50EABFF5E035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% No Impact</c:v>
                </c:pt>
              </c:strCache>
            </c:strRef>
          </c:tx>
          <c:spPr>
            <a:noFill/>
            <a:ln>
              <a:solidFill>
                <a:srgbClr val="FF8769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Transit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08-4C99-AE45-50EABFF5E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71083280658106829"/>
          <c:y val="1.1289585994422432E-3"/>
          <c:w val="0.52853162268597753"/>
          <c:h val="0.9988710414005577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l transit</c:v>
                </c:pt>
              </c:strCache>
            </c:strRef>
          </c:tx>
          <c:spPr>
            <a:solidFill>
              <a:srgbClr val="FFA58F">
                <a:alpha val="50196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8769">
                  <a:alpha val="50196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3E-AC44-B2B3-6D4B7E539F77}"/>
              </c:ext>
            </c:extLst>
          </c:dPt>
          <c:dPt>
            <c:idx val="8"/>
            <c:invertIfNegative val="0"/>
            <c:bubble3D val="0"/>
            <c:spPr>
              <a:solidFill>
                <a:srgbClr val="FFA58F">
                  <a:alpha val="50196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3E-AC44-B2B3-6D4B7E539F77}"/>
              </c:ext>
            </c:extLst>
          </c:dPt>
          <c:dPt>
            <c:idx val="9"/>
            <c:invertIfNegative val="0"/>
            <c:bubble3D val="0"/>
            <c:spPr>
              <a:solidFill>
                <a:srgbClr val="FFA58F">
                  <a:alpha val="50196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3E-AC44-B2B3-6D4B7E539F77}"/>
              </c:ext>
            </c:extLst>
          </c:dPt>
          <c:dPt>
            <c:idx val="11"/>
            <c:invertIfNegative val="0"/>
            <c:bubble3D val="0"/>
            <c:spPr>
              <a:solidFill>
                <a:srgbClr val="FFA58F">
                  <a:alpha val="50196"/>
                </a:srgbClr>
              </a:solidFill>
              <a:ln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3E-AC44-B2B3-6D4B7E539F77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553E-AC44-B2B3-6D4B7E539F77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D624F3C-C89A-3D44-BE7A-E19D79247507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553E-AC44-B2B3-6D4B7E539F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ny Action (NET)</c:v>
                </c:pt>
                <c:pt idx="1">
                  <c:v>Used online search to look up information about the advertiser</c:v>
                </c:pt>
                <c:pt idx="2">
                  <c:v>Visited an advertiser's website</c:v>
                </c:pt>
                <c:pt idx="3">
                  <c:v>Visited an advertiser's social media site</c:v>
                </c:pt>
                <c:pt idx="4">
                  <c:v>Downloaded or used an app shown in the advertisement</c:v>
                </c:pt>
                <c:pt idx="5">
                  <c:v>Accessed a coupon, discount code, or other information using a QR code, swipe, tap, or SMS/text technology</c:v>
                </c:pt>
                <c:pt idx="6">
                  <c:v>Watched an advertised show or program</c:v>
                </c:pt>
                <c:pt idx="7">
                  <c:v>Ordered an advertiser's product online</c:v>
                </c:pt>
                <c:pt idx="8">
                  <c:v>Interacted with an advertisement such as sending a message, uploading a photo, or voting</c:v>
                </c:pt>
                <c:pt idx="9">
                  <c:v>Called a phone number advertised</c:v>
                </c:pt>
                <c:pt idx="10">
                  <c:v>Posted about the advertisement or product on a social media platform or blog</c:v>
                </c:pt>
                <c:pt idx="11">
                  <c:v>Something else</c:v>
                </c:pt>
                <c:pt idx="12">
                  <c:v>None of these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83789562000000006</c:v>
                </c:pt>
                <c:pt idx="1">
                  <c:v>0.46955991000000002</c:v>
                </c:pt>
                <c:pt idx="2">
                  <c:v>0.4364595</c:v>
                </c:pt>
                <c:pt idx="3">
                  <c:v>0.34785909999999998</c:v>
                </c:pt>
                <c:pt idx="4">
                  <c:v>0.31045751999999999</c:v>
                </c:pt>
                <c:pt idx="5">
                  <c:v>0.29749366999999999</c:v>
                </c:pt>
                <c:pt idx="6">
                  <c:v>0.29249315999999997</c:v>
                </c:pt>
                <c:pt idx="7">
                  <c:v>0.28120847999999998</c:v>
                </c:pt>
                <c:pt idx="8">
                  <c:v>0.20920459999999999</c:v>
                </c:pt>
                <c:pt idx="9">
                  <c:v>0.18295003000000001</c:v>
                </c:pt>
                <c:pt idx="10">
                  <c:v>0.17881607999999999</c:v>
                </c:pt>
                <c:pt idx="11">
                  <c:v>0</c:v>
                </c:pt>
                <c:pt idx="12">
                  <c:v>0.16210437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53E-AC44-B2B3-6D4B7E539F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9995246225163226"/>
          <c:y val="0"/>
          <c:w val="0.41203222346785551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al Transit (C)</c:v>
                </c:pt>
              </c:strCache>
            </c:strRef>
          </c:tx>
          <c:spPr>
            <a:solidFill>
              <a:srgbClr val="FFA58F">
                <a:alpha val="50196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FF8769">
                  <a:alpha val="50196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6-49C6-9D28-CF6886CA2258}"/>
              </c:ext>
            </c:extLst>
          </c:dPt>
          <c:dPt>
            <c:idx val="6"/>
            <c:invertIfNegative val="0"/>
            <c:bubble3D val="0"/>
            <c:spPr>
              <a:solidFill>
                <a:srgbClr val="FFA58F">
                  <a:alpha val="50196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36-9540-AAF7-04ABB92577B6}"/>
              </c:ext>
            </c:extLst>
          </c:dPt>
          <c:dPt>
            <c:idx val="9"/>
            <c:invertIfNegative val="0"/>
            <c:bubble3D val="0"/>
            <c:spPr>
              <a:solidFill>
                <a:srgbClr val="FFA58F">
                  <a:alpha val="50196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6-49C6-9D28-CF6886CA2258}"/>
              </c:ext>
            </c:extLst>
          </c:dPt>
          <c:dLbls>
            <c:dLbl>
              <c:idx val="10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0-4F08-0F4F-AD44-AFA8AB87F51E}"/>
                </c:ext>
              </c:extLst>
            </c:dLbl>
            <c:dLbl>
              <c:idx val="11"/>
              <c:tx>
                <c:rich>
                  <a:bodyPr/>
                  <a:lstStyle/>
                  <a:p>
                    <a:fld id="{B54228AA-8AFF-1F44-8801-5C57A40E62EA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726-49C6-9D28-CF6886CA22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ny action (NET)</c:v>
                </c:pt>
                <c:pt idx="1">
                  <c:v>Watched an advertised show or program on a TV</c:v>
                </c:pt>
                <c:pt idx="2">
                  <c:v>Visited a restaurant advertised</c:v>
                </c:pt>
                <c:pt idx="3">
                  <c:v>Made a purchase at a store advertised</c:v>
                </c:pt>
                <c:pt idx="4">
                  <c:v>Talked about the advertisement or product with others</c:v>
                </c:pt>
                <c:pt idx="5">
                  <c:v>Visited a store or business advertised</c:v>
                </c:pt>
                <c:pt idx="6">
                  <c:v>Watched an advertised movie in the theater</c:v>
                </c:pt>
                <c:pt idx="7">
                  <c:v>Recommended the advertised product or brand to others</c:v>
                </c:pt>
                <c:pt idx="8">
                  <c:v>Tuned to a radio station</c:v>
                </c:pt>
                <c:pt idx="9">
                  <c:v>Attended an advertised sporting event, festival, concert, performance, or other public event</c:v>
                </c:pt>
                <c:pt idx="10">
                  <c:v>Something else</c:v>
                </c:pt>
                <c:pt idx="11">
                  <c:v>None of these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84858783000000004</c:v>
                </c:pt>
                <c:pt idx="1">
                  <c:v>0.43134361999999998</c:v>
                </c:pt>
                <c:pt idx="2">
                  <c:v>0.42935113000000003</c:v>
                </c:pt>
                <c:pt idx="3">
                  <c:v>0.36950354000000002</c:v>
                </c:pt>
                <c:pt idx="4">
                  <c:v>0.34892063000000001</c:v>
                </c:pt>
                <c:pt idx="5">
                  <c:v>0.34625779000000001</c:v>
                </c:pt>
                <c:pt idx="6">
                  <c:v>0.34051921000000002</c:v>
                </c:pt>
                <c:pt idx="7">
                  <c:v>0.28051925999999999</c:v>
                </c:pt>
                <c:pt idx="8">
                  <c:v>0.22168107000000001</c:v>
                </c:pt>
                <c:pt idx="9">
                  <c:v>0.21304991000000001</c:v>
                </c:pt>
                <c:pt idx="10">
                  <c:v>0</c:v>
                </c:pt>
                <c:pt idx="11">
                  <c:v>0.15141217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726-49C6-9D28-CF6886CA22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5131862838433037"/>
          <c:y val="0.34857136145762241"/>
          <c:w val="0.36322633248907177"/>
          <c:h val="0.49710722716886196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Never/Rarely (NET)</c:v>
                </c:pt>
              </c:strCache>
            </c:strRef>
          </c:tx>
          <c:spPr>
            <a:solidFill>
              <a:srgbClr val="FFFFFF">
                <a:lumMod val="95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Place-Based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EB-4C1C-8969-EC5BDDEC96DB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Sometimes</c:v>
                </c:pt>
              </c:strCache>
            </c:strRef>
          </c:tx>
          <c:spPr>
            <a:solidFill>
              <a:srgbClr val="A31034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Place-Based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9EB-4C1C-8969-EC5BDDEC96DB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All/Most of the time (NET)</c:v>
                </c:pt>
              </c:strCache>
            </c:strRef>
          </c:tx>
          <c:spPr>
            <a:solidFill>
              <a:srgbClr val="A31034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bg1"/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Place-Based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3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9EB-4C1C-8969-EC5BDDEC96D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l"/>
      <c:layout>
        <c:manualLayout>
          <c:xMode val="edge"/>
          <c:yMode val="edge"/>
          <c:x val="2.5373799015136971E-2"/>
          <c:y val="0.49370511647694276"/>
          <c:w val="0.35532289358008917"/>
          <c:h val="0.1418618823968502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37415504749795359"/>
          <c:y val="0.39166215357391265"/>
          <c:w val="0.34800205307998966"/>
          <c:h val="0.41424031925291888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% Impact</c:v>
                </c:pt>
              </c:strCache>
            </c:strRef>
          </c:tx>
          <c:spPr>
            <a:solidFill>
              <a:srgbClr val="A31034"/>
            </a:solidFill>
            <a:ln>
              <a:solidFill>
                <a:srgbClr val="A31034"/>
              </a:solidFill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00" b="1" i="0" u="none" strike="noStrike" kern="1200" baseline="0">
                    <a:solidFill>
                      <a:schemeClr val="bg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billboard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208-4C99-AE45-50EABFF5E035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% No Impact</c:v>
                </c:pt>
              </c:strCache>
            </c:strRef>
          </c:tx>
          <c:spPr>
            <a:noFill/>
            <a:ln>
              <a:solidFill>
                <a:srgbClr val="A31034"/>
              </a:solidFill>
            </a:ln>
            <a:effectLst/>
          </c:spPr>
          <c:invertIfNegative val="0"/>
          <c:cat>
            <c:strRef>
              <c:f>Sheet1!$A$2</c:f>
              <c:strCache>
                <c:ptCount val="1"/>
                <c:pt idx="0">
                  <c:v>Digital billboard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4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208-4C99-AE45-50EABFF5E03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r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171119595467343"/>
          <c:y val="0"/>
          <c:w val="0.41203222346785551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al Place-Based (D)</c:v>
                </c:pt>
              </c:strCache>
            </c:strRef>
          </c:tx>
          <c:spPr>
            <a:solidFill>
              <a:srgbClr val="BA4C67">
                <a:alpha val="74902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31034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C726-49C6-9D28-CF6886CA2258}"/>
              </c:ext>
            </c:extLst>
          </c:dPt>
          <c:dPt>
            <c:idx val="6"/>
            <c:invertIfNegative val="0"/>
            <c:bubble3D val="0"/>
            <c:spPr>
              <a:solidFill>
                <a:srgbClr val="BA4C67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1F36-9540-AAF7-04ABB92577B6}"/>
              </c:ext>
            </c:extLst>
          </c:dPt>
          <c:dPt>
            <c:idx val="9"/>
            <c:invertIfNegative val="0"/>
            <c:bubble3D val="0"/>
            <c:spPr>
              <a:solidFill>
                <a:srgbClr val="BA4C67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C726-49C6-9D28-CF6886CA2258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fld id="{B54228AA-8AFF-1F44-8801-5C57A40E62EA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C726-49C6-9D28-CF6886CA225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ny action (NET)</c:v>
                </c:pt>
                <c:pt idx="1">
                  <c:v>Watched an advertised show or program on a TV</c:v>
                </c:pt>
                <c:pt idx="2">
                  <c:v>Visited a restaurant advertised</c:v>
                </c:pt>
                <c:pt idx="3">
                  <c:v>Talked about the advertisement or product with others</c:v>
                </c:pt>
                <c:pt idx="4">
                  <c:v>Made a purchase at a store advertised</c:v>
                </c:pt>
                <c:pt idx="5">
                  <c:v>Watched an advertised movie in the theater</c:v>
                </c:pt>
                <c:pt idx="6">
                  <c:v>Visited a store or business advertised</c:v>
                </c:pt>
                <c:pt idx="7">
                  <c:v>Recommended the advertised product or brand to others</c:v>
                </c:pt>
                <c:pt idx="8">
                  <c:v>Tuned to a radio station</c:v>
                </c:pt>
                <c:pt idx="9">
                  <c:v>Attended an advertised sporting event, festival, concert, performance, or other public event</c:v>
                </c:pt>
                <c:pt idx="10">
                  <c:v>Something else</c:v>
                </c:pt>
                <c:pt idx="11">
                  <c:v>None of these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79530252000000001</c:v>
                </c:pt>
                <c:pt idx="1">
                  <c:v>0.40803982</c:v>
                </c:pt>
                <c:pt idx="2">
                  <c:v>0.38953433999999998</c:v>
                </c:pt>
                <c:pt idx="3">
                  <c:v>0.32819521000000001</c:v>
                </c:pt>
                <c:pt idx="4">
                  <c:v>0.32292766000000001</c:v>
                </c:pt>
                <c:pt idx="5">
                  <c:v>0.31982258000000002</c:v>
                </c:pt>
                <c:pt idx="6">
                  <c:v>0.3128939</c:v>
                </c:pt>
                <c:pt idx="7">
                  <c:v>0.24121695000000001</c:v>
                </c:pt>
                <c:pt idx="8">
                  <c:v>0.20000966000000001</c:v>
                </c:pt>
                <c:pt idx="9">
                  <c:v>0.18601008999999999</c:v>
                </c:pt>
                <c:pt idx="10">
                  <c:v>9.5458100000000001E-3</c:v>
                </c:pt>
                <c:pt idx="11">
                  <c:v>0.20469747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C726-49C6-9D28-CF6886CA225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71083280658106829"/>
          <c:y val="1.1289585994422432E-3"/>
          <c:w val="0.52853162268597753"/>
          <c:h val="0.9988710414005577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Digital Place-Based (D)</c:v>
                </c:pt>
              </c:strCache>
            </c:strRef>
          </c:tx>
          <c:spPr>
            <a:solidFill>
              <a:srgbClr val="BA4C67">
                <a:alpha val="74902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A31034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53E-AC44-B2B3-6D4B7E539F77}"/>
              </c:ext>
            </c:extLst>
          </c:dPt>
          <c:dPt>
            <c:idx val="8"/>
            <c:invertIfNegative val="0"/>
            <c:bubble3D val="0"/>
            <c:spPr>
              <a:solidFill>
                <a:srgbClr val="BA4C67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53E-AC44-B2B3-6D4B7E539F77}"/>
              </c:ext>
            </c:extLst>
          </c:dPt>
          <c:dPt>
            <c:idx val="9"/>
            <c:invertIfNegative val="0"/>
            <c:bubble3D val="0"/>
            <c:spPr>
              <a:solidFill>
                <a:srgbClr val="BA4C67">
                  <a:alpha val="74902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53E-AC44-B2B3-6D4B7E539F77}"/>
              </c:ext>
            </c:extLst>
          </c:dPt>
          <c:dPt>
            <c:idx val="11"/>
            <c:invertIfNegative val="0"/>
            <c:bubble3D val="0"/>
            <c:spPr>
              <a:solidFill>
                <a:srgbClr val="BA4C67">
                  <a:alpha val="74902"/>
                </a:srgbClr>
              </a:solidFill>
              <a:ln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553E-AC44-B2B3-6D4B7E539F77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7-553E-AC44-B2B3-6D4B7E539F77}"/>
                </c:ext>
              </c:extLst>
            </c:dLbl>
            <c:dLbl>
              <c:idx val="12"/>
              <c:tx>
                <c:rich>
                  <a:bodyPr/>
                  <a:lstStyle/>
                  <a:p>
                    <a:fld id="{AD624F3C-C89A-3D44-BE7A-E19D79247507}" type="VALUE">
                      <a:rPr lang="en-US" smtClean="0"/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553E-AC44-B2B3-6D4B7E539F77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ny Action (NET)</c:v>
                </c:pt>
                <c:pt idx="1">
                  <c:v>Used online search to look up information about the advertiser</c:v>
                </c:pt>
                <c:pt idx="2">
                  <c:v>Visited an advertiser's website</c:v>
                </c:pt>
                <c:pt idx="3">
                  <c:v>Visited an advertiser's social media site</c:v>
                </c:pt>
                <c:pt idx="4">
                  <c:v>Downloaded or used an app shown in the advertisement</c:v>
                </c:pt>
                <c:pt idx="5">
                  <c:v>Watched an advertised show or program</c:v>
                </c:pt>
                <c:pt idx="6">
                  <c:v>Accessed a coupon, discount code, or other information using a QR code, swipe, tap, or SMS/text technology</c:v>
                </c:pt>
                <c:pt idx="7">
                  <c:v>Ordered an advertiser's product online</c:v>
                </c:pt>
                <c:pt idx="8">
                  <c:v>Interacted with an advertisement such as sending a message, uploading a photo, or voting</c:v>
                </c:pt>
                <c:pt idx="9">
                  <c:v>Called a phone number advertised</c:v>
                </c:pt>
                <c:pt idx="10">
                  <c:v>Posted about the advertisement or product on a social media platform or blog</c:v>
                </c:pt>
                <c:pt idx="11">
                  <c:v>Something else</c:v>
                </c:pt>
                <c:pt idx="12">
                  <c:v>None of these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78317959999999998</c:v>
                </c:pt>
                <c:pt idx="1">
                  <c:v>0.46716867000000001</c:v>
                </c:pt>
                <c:pt idx="2">
                  <c:v>0.411854</c:v>
                </c:pt>
                <c:pt idx="3">
                  <c:v>0.33106485000000002</c:v>
                </c:pt>
                <c:pt idx="4">
                  <c:v>0.28884840000000001</c:v>
                </c:pt>
                <c:pt idx="5">
                  <c:v>0.26662132999999999</c:v>
                </c:pt>
                <c:pt idx="6">
                  <c:v>0.26672636</c:v>
                </c:pt>
                <c:pt idx="7">
                  <c:v>0.24182993999999999</c:v>
                </c:pt>
                <c:pt idx="8">
                  <c:v>0.17805994</c:v>
                </c:pt>
                <c:pt idx="9">
                  <c:v>0.16253582999999999</c:v>
                </c:pt>
                <c:pt idx="10">
                  <c:v>0.14934546000000001</c:v>
                </c:pt>
                <c:pt idx="11">
                  <c:v>0</c:v>
                </c:pt>
                <c:pt idx="12">
                  <c:v>0.21682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53E-AC44-B2B3-6D4B7E539F7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7"/>
        <c:axId val="930770384"/>
        <c:axId val="845554192"/>
      </c:barChart>
      <c:catAx>
        <c:axId val="930770384"/>
        <c:scaling>
          <c:orientation val="maxMin"/>
        </c:scaling>
        <c:delete val="1"/>
        <c:axPos val="l"/>
        <c:numFmt formatCode="General" sourceLinked="1"/>
        <c:majorTickMark val="none"/>
        <c:minorTickMark val="none"/>
        <c:tickLblPos val="nextTo"/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5749884669090709E-2"/>
          <c:y val="7.3249126634990197E-2"/>
          <c:w val="0.95356108253489702"/>
          <c:h val="0.85249690390962152"/>
        </c:manualLayout>
      </c:layout>
      <c:doughnut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% Notice</c:v>
                </c:pt>
              </c:strCache>
            </c:strRef>
          </c:tx>
          <c:spPr>
            <a:solidFill>
              <a:srgbClr val="00CF9C"/>
            </a:solidFill>
            <a:ln>
              <a:solidFill>
                <a:srgbClr val="019EDB">
                  <a:lumMod val="20000"/>
                  <a:lumOff val="80000"/>
                </a:srgbClr>
              </a:solidFill>
            </a:ln>
          </c:spPr>
          <c:dPt>
            <c:idx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solidFill>
                  <a:srgbClr val="019EDB">
                    <a:lumMod val="20000"/>
                    <a:lumOff val="8000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AB11-4E0A-BDA2-F04E82D2575B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019EDB">
                    <a:lumMod val="20000"/>
                    <a:lumOff val="8000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AB11-4E0A-BDA2-F04E82D2575B}"/>
              </c:ext>
            </c:extLst>
          </c:dPt>
          <c:cat>
            <c:strRef>
              <c:f>Sheet1!$A$2:$A$3</c:f>
              <c:strCache>
                <c:ptCount val="2"/>
                <c:pt idx="0">
                  <c:v>Noticed</c:v>
                </c:pt>
                <c:pt idx="1">
                  <c:v>Didn't notic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3</c:v>
                </c:pt>
                <c:pt idx="1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B11-4E0A-BDA2-F04E82D2575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5749884669090709E-2"/>
          <c:y val="7.3249126634990197E-2"/>
          <c:w val="0.95356108253489702"/>
          <c:h val="0.85249690390962152"/>
        </c:manualLayout>
      </c:layout>
      <c:doughnut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% Notice</c:v>
                </c:pt>
              </c:strCache>
            </c:strRef>
          </c:tx>
          <c:spPr>
            <a:solidFill>
              <a:srgbClr val="00CF9C"/>
            </a:solidFill>
            <a:ln>
              <a:solidFill>
                <a:srgbClr val="019EDB"/>
              </a:solidFill>
            </a:ln>
          </c:spPr>
          <c:dPt>
            <c:idx val="0"/>
            <c:bubble3D val="0"/>
            <c:spPr>
              <a:solidFill>
                <a:srgbClr val="019EDB"/>
              </a:solidFill>
              <a:ln>
                <a:solidFill>
                  <a:srgbClr val="019ED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EBDD-446C-97F8-6DAB773409DE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019EDB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BDD-446C-97F8-6DAB773409DE}"/>
              </c:ext>
            </c:extLst>
          </c:dPt>
          <c:cat>
            <c:strRef>
              <c:f>Sheet1!$A$2:$A$3</c:f>
              <c:strCache>
                <c:ptCount val="2"/>
                <c:pt idx="0">
                  <c:v>Noticed</c:v>
                </c:pt>
                <c:pt idx="1">
                  <c:v>Didn't notic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51</c:v>
                </c:pt>
                <c:pt idx="1">
                  <c:v>0.4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BDD-446C-97F8-6DAB773409D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3.5749884669090709E-2"/>
          <c:y val="7.3249126634990197E-2"/>
          <c:w val="0.95356108253489702"/>
          <c:h val="0.85249690390962152"/>
        </c:manualLayout>
      </c:layout>
      <c:doughnut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% Notice</c:v>
                </c:pt>
              </c:strCache>
            </c:strRef>
          </c:tx>
          <c:spPr>
            <a:solidFill>
              <a:srgbClr val="00CF9C"/>
            </a:solidFill>
            <a:ln>
              <a:solidFill>
                <a:srgbClr val="019EDB">
                  <a:lumMod val="50000"/>
                </a:srgbClr>
              </a:solidFill>
            </a:ln>
          </c:spPr>
          <c:dPt>
            <c:idx val="0"/>
            <c:bubble3D val="0"/>
            <c:spPr>
              <a:solidFill>
                <a:srgbClr val="019EDB">
                  <a:lumMod val="50000"/>
                </a:srgbClr>
              </a:solidFill>
              <a:ln>
                <a:solidFill>
                  <a:srgbClr val="019EDB">
                    <a:lumMod val="5000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318-4C60-A40D-D44669B1E593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019EDB">
                    <a:lumMod val="50000"/>
                  </a:srgbClr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318-4C60-A40D-D44669B1E593}"/>
              </c:ext>
            </c:extLst>
          </c:dPt>
          <c:cat>
            <c:strRef>
              <c:f>Sheet1!$A$2:$A$3</c:f>
              <c:strCache>
                <c:ptCount val="2"/>
                <c:pt idx="0">
                  <c:v>Noticed</c:v>
                </c:pt>
                <c:pt idx="1">
                  <c:v>Didn't notice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93</c:v>
                </c:pt>
                <c:pt idx="1">
                  <c:v>7.0000000000000007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318-4C60-A40D-D44669B1E5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50"/>
      </c:doughnut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48106760426612766"/>
          <c:y val="0"/>
          <c:w val="0.50804617668112428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Gen Pop</c:v>
                </c:pt>
              </c:strCache>
            </c:strRef>
          </c:tx>
          <c:spPr>
            <a:solidFill>
              <a:srgbClr val="FF8769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spPr>
              <a:solidFill>
                <a:srgbClr val="FF8769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D95B-4093-AD33-C0AA5E87857C}"/>
              </c:ext>
            </c:extLst>
          </c:dPt>
          <c:dPt>
            <c:idx val="2"/>
            <c:invertIfNegative val="0"/>
            <c:bubble3D val="0"/>
            <c:spPr>
              <a:solidFill>
                <a:srgbClr val="FF8769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D225-411C-B409-00F28529BCB1}"/>
              </c:ext>
            </c:extLst>
          </c:dPt>
          <c:dPt>
            <c:idx val="3"/>
            <c:invertIfNegative val="0"/>
            <c:bubble3D val="0"/>
            <c:spPr>
              <a:solidFill>
                <a:srgbClr val="FF8769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D225-411C-B409-00F28529BCB1}"/>
              </c:ext>
            </c:extLst>
          </c:dPt>
          <c:dPt>
            <c:idx val="4"/>
            <c:invertIfNegative val="0"/>
            <c:bubble3D val="0"/>
            <c:spPr>
              <a:solidFill>
                <a:srgbClr val="FF8769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D225-411C-B409-00F28529BCB1}"/>
              </c:ext>
            </c:extLst>
          </c:dPt>
          <c:dPt>
            <c:idx val="5"/>
            <c:invertIfNegative val="0"/>
            <c:bubble3D val="0"/>
            <c:spPr>
              <a:solidFill>
                <a:srgbClr val="FF8769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0910-4E63-BC03-B0ED0682C5FE}"/>
              </c:ext>
            </c:extLst>
          </c:dPt>
          <c:dPt>
            <c:idx val="6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0-D225-411C-B409-00F28529BCB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8</c:f>
              <c:strCache>
                <c:ptCount val="7"/>
                <c:pt idx="0">
                  <c:v>Digital out-of-home</c:v>
                </c:pt>
                <c:pt idx="1">
                  <c:v>Television/Streaming Video</c:v>
                </c:pt>
                <c:pt idx="2">
                  <c:v>Social media</c:v>
                </c:pt>
                <c:pt idx="3">
                  <c:v>Online media, websites, and search engines</c:v>
                </c:pt>
                <c:pt idx="4">
                  <c:v>Radio, podcasts, and audio streaming</c:v>
                </c:pt>
                <c:pt idx="5">
                  <c:v>Magazines or newspapers</c:v>
                </c:pt>
                <c:pt idx="6">
                  <c:v>None of these </c:v>
                </c:pt>
              </c:strCache>
            </c:strRef>
          </c:cat>
          <c:val>
            <c:numRef>
              <c:f>Sheet1!$B$2:$B$8</c:f>
              <c:numCache>
                <c:formatCode>0%</c:formatCode>
                <c:ptCount val="7"/>
                <c:pt idx="0">
                  <c:v>0.49</c:v>
                </c:pt>
                <c:pt idx="1">
                  <c:v>0.4</c:v>
                </c:pt>
                <c:pt idx="2">
                  <c:v>0.38</c:v>
                </c:pt>
                <c:pt idx="3">
                  <c:v>0.26</c:v>
                </c:pt>
                <c:pt idx="4">
                  <c:v>0.19</c:v>
                </c:pt>
                <c:pt idx="5">
                  <c:v>0.16</c:v>
                </c:pt>
                <c:pt idx="6">
                  <c:v>0.2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AEAA-4F32-9C77-54118826BA6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30770384"/>
        <c:axId val="845554192"/>
      </c:barChart>
      <c:catAx>
        <c:axId val="9307703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>
          <a:solidFill>
            <a:schemeClr val="tx1"/>
          </a:solidFill>
        </a:defRPr>
      </a:pPr>
      <a:endParaRPr lang="en-US"/>
    </a:p>
  </c:txPr>
  <c:externalData r:id="rId4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104086444504963"/>
          <c:y val="6.8193158092775916E-2"/>
          <c:w val="0.68179304563332876"/>
          <c:h val="0.90647259479912234"/>
        </c:manualLayout>
      </c:layout>
      <c:barChart>
        <c:barDir val="bar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ss Likely (NET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Displayed special deals on groceries</c:v>
                </c:pt>
                <c:pt idx="1">
                  <c:v>Displayed special deals at restaurants</c:v>
                </c:pt>
                <c:pt idx="2">
                  <c:v>Promoted upcoming movie releases</c:v>
                </c:pt>
                <c:pt idx="3">
                  <c:v>Displayed time-specific offers/discounts based on time of day
 (e.g., food menus, beverages, etc.)</c:v>
                </c:pt>
                <c:pt idx="4">
                  <c:v>Displayed special deals on clothing, shoes, or accessories</c:v>
                </c:pt>
                <c:pt idx="5">
                  <c:v>Displayed reminders about local special events (e.g., concerts, sporting events, etc.)</c:v>
                </c:pt>
                <c:pt idx="6">
                  <c:v>Displayed reminders about TV/streaming video programming</c:v>
                </c:pt>
                <c:pt idx="7">
                  <c:v>Displayed offers related to current weather conditions 
(e.g., clothing, rain gear, hot or cold beverages/food, etc.)</c:v>
                </c:pt>
                <c:pt idx="8">
                  <c:v>Gave updates on news or sports headlines</c:v>
                </c:pt>
                <c:pt idx="9">
                  <c:v>Featured a celebrity or familiar social influencer</c:v>
                </c:pt>
                <c:pt idx="10">
                  <c:v>Reflected your cultural identity</c:v>
                </c:pt>
                <c:pt idx="11">
                  <c:v>Displayed special offers from professional services (e.g., medical, insurance, legal, etc.)</c:v>
                </c:pt>
                <c:pt idx="12">
                  <c:v>Displayed special offers from home repair services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9.4643569999999996E-2</c:v>
                </c:pt>
                <c:pt idx="1">
                  <c:v>0.1131234</c:v>
                </c:pt>
                <c:pt idx="2">
                  <c:v>0.1024629</c:v>
                </c:pt>
                <c:pt idx="3">
                  <c:v>0.12334121000000001</c:v>
                </c:pt>
                <c:pt idx="4">
                  <c:v>0.1131234</c:v>
                </c:pt>
                <c:pt idx="5">
                  <c:v>0.1295376</c:v>
                </c:pt>
                <c:pt idx="6">
                  <c:v>0.11829919999999999</c:v>
                </c:pt>
                <c:pt idx="7">
                  <c:v>0.13900306000000001</c:v>
                </c:pt>
                <c:pt idx="8">
                  <c:v>0.19</c:v>
                </c:pt>
                <c:pt idx="9">
                  <c:v>0.22</c:v>
                </c:pt>
                <c:pt idx="10">
                  <c:v>0.14404123999999999</c:v>
                </c:pt>
                <c:pt idx="11">
                  <c:v>0.19</c:v>
                </c:pt>
                <c:pt idx="12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852-44A4-92A2-72B9381E616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ith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Displayed special deals on groceries</c:v>
                </c:pt>
                <c:pt idx="1">
                  <c:v>Displayed special deals at restaurants</c:v>
                </c:pt>
                <c:pt idx="2">
                  <c:v>Promoted upcoming movie releases</c:v>
                </c:pt>
                <c:pt idx="3">
                  <c:v>Displayed time-specific offers/discounts based on time of day
 (e.g., food menus, beverages, etc.)</c:v>
                </c:pt>
                <c:pt idx="4">
                  <c:v>Displayed special deals on clothing, shoes, or accessories</c:v>
                </c:pt>
                <c:pt idx="5">
                  <c:v>Displayed reminders about local special events (e.g., concerts, sporting events, etc.)</c:v>
                </c:pt>
                <c:pt idx="6">
                  <c:v>Displayed reminders about TV/streaming video programming</c:v>
                </c:pt>
                <c:pt idx="7">
                  <c:v>Displayed offers related to current weather conditions 
(e.g., clothing, rain gear, hot or cold beverages/food, etc.)</c:v>
                </c:pt>
                <c:pt idx="8">
                  <c:v>Gave updates on news or sports headlines</c:v>
                </c:pt>
                <c:pt idx="9">
                  <c:v>Featured a celebrity or familiar social influencer</c:v>
                </c:pt>
                <c:pt idx="10">
                  <c:v>Reflected your cultural identity</c:v>
                </c:pt>
                <c:pt idx="11">
                  <c:v>Displayed special offers from professional services (e.g., medical, insurance, legal, etc.)</c:v>
                </c:pt>
                <c:pt idx="12">
                  <c:v>Displayed special offers from home repair services</c:v>
                </c:pt>
              </c:strCache>
            </c:strRef>
          </c:cat>
          <c:val>
            <c:numRef>
              <c:f>Sheet1!$C$2:$C$14</c:f>
              <c:numCache>
                <c:formatCode>0%</c:formatCode>
                <c:ptCount val="13"/>
                <c:pt idx="0">
                  <c:v>0.35501822999999999</c:v>
                </c:pt>
                <c:pt idx="1">
                  <c:v>0.36</c:v>
                </c:pt>
                <c:pt idx="2">
                  <c:v>0.39744157999999996</c:v>
                </c:pt>
                <c:pt idx="3">
                  <c:v>0.38210696</c:v>
                </c:pt>
                <c:pt idx="4">
                  <c:v>0.42218065999999999</c:v>
                </c:pt>
                <c:pt idx="5">
                  <c:v>0.40622274999999997</c:v>
                </c:pt>
                <c:pt idx="6">
                  <c:v>0.45479756000000005</c:v>
                </c:pt>
                <c:pt idx="7">
                  <c:v>0.43626443999999998</c:v>
                </c:pt>
                <c:pt idx="8">
                  <c:v>0.41466373000000001</c:v>
                </c:pt>
                <c:pt idx="9">
                  <c:v>0.44995483000000003</c:v>
                </c:pt>
                <c:pt idx="10">
                  <c:v>0.53099686000000001</c:v>
                </c:pt>
                <c:pt idx="11">
                  <c:v>0.50326134</c:v>
                </c:pt>
                <c:pt idx="12">
                  <c:v>0.49379576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852-44A4-92A2-72B9381E6164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re Likely (NET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FC75-4258-B70B-C3D2A344B3B0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76C0-4779-8E87-F9F339A4F10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FC75-4258-B70B-C3D2A344B3B0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FC75-4258-B70B-C3D2A344B3B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Displayed special deals on groceries</c:v>
                </c:pt>
                <c:pt idx="1">
                  <c:v>Displayed special deals at restaurants</c:v>
                </c:pt>
                <c:pt idx="2">
                  <c:v>Promoted upcoming movie releases</c:v>
                </c:pt>
                <c:pt idx="3">
                  <c:v>Displayed time-specific offers/discounts based on time of day
 (e.g., food menus, beverages, etc.)</c:v>
                </c:pt>
                <c:pt idx="4">
                  <c:v>Displayed special deals on clothing, shoes, or accessories</c:v>
                </c:pt>
                <c:pt idx="5">
                  <c:v>Displayed reminders about local special events (e.g., concerts, sporting events, etc.)</c:v>
                </c:pt>
                <c:pt idx="6">
                  <c:v>Displayed reminders about TV/streaming video programming</c:v>
                </c:pt>
                <c:pt idx="7">
                  <c:v>Displayed offers related to current weather conditions 
(e.g., clothing, rain gear, hot or cold beverages/food, etc.)</c:v>
                </c:pt>
                <c:pt idx="8">
                  <c:v>Gave updates on news or sports headlines</c:v>
                </c:pt>
                <c:pt idx="9">
                  <c:v>Featured a celebrity or familiar social influencer</c:v>
                </c:pt>
                <c:pt idx="10">
                  <c:v>Reflected your cultural identity</c:v>
                </c:pt>
                <c:pt idx="11">
                  <c:v>Displayed special offers from professional services (e.g., medical, insurance, legal, etc.)</c:v>
                </c:pt>
                <c:pt idx="12">
                  <c:v>Displayed special offers from home repair services</c:v>
                </c:pt>
              </c:strCache>
            </c:strRef>
          </c:cat>
          <c:val>
            <c:numRef>
              <c:f>Sheet1!$D$2:$D$14</c:f>
              <c:numCache>
                <c:formatCode>0%</c:formatCode>
                <c:ptCount val="13"/>
                <c:pt idx="0">
                  <c:v>0.5503382</c:v>
                </c:pt>
                <c:pt idx="1">
                  <c:v>0.53942051999999996</c:v>
                </c:pt>
                <c:pt idx="2">
                  <c:v>0.50009552000000002</c:v>
                </c:pt>
                <c:pt idx="3">
                  <c:v>0.49455183000000003</c:v>
                </c:pt>
                <c:pt idx="4">
                  <c:v>0.46469593999999997</c:v>
                </c:pt>
                <c:pt idx="5">
                  <c:v>0.46423965</c:v>
                </c:pt>
                <c:pt idx="6">
                  <c:v>0.42690324000000002</c:v>
                </c:pt>
                <c:pt idx="7">
                  <c:v>0.42473250000000001</c:v>
                </c:pt>
                <c:pt idx="8">
                  <c:v>0.39533626999999999</c:v>
                </c:pt>
                <c:pt idx="9">
                  <c:v>0.33004517</c:v>
                </c:pt>
                <c:pt idx="10">
                  <c:v>0.32496190000000003</c:v>
                </c:pt>
                <c:pt idx="11">
                  <c:v>0.30673866</c:v>
                </c:pt>
                <c:pt idx="12">
                  <c:v>0.286204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852-44A4-92A2-72B9381E616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58789952"/>
        <c:axId val="1858800768"/>
      </c:barChart>
      <c:catAx>
        <c:axId val="18587899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Helvetica" panose="020B0604020202020204" pitchFamily="34" charset="0"/>
              </a:defRPr>
            </a:pPr>
            <a:endParaRPr lang="en-US"/>
          </a:p>
        </c:txPr>
        <c:crossAx val="1858800768"/>
        <c:crosses val="autoZero"/>
        <c:auto val="1"/>
        <c:lblAlgn val="ctr"/>
        <c:lblOffset val="100"/>
        <c:noMultiLvlLbl val="0"/>
      </c:catAx>
      <c:valAx>
        <c:axId val="1858800768"/>
        <c:scaling>
          <c:orientation val="minMax"/>
          <c:max val="1.1000000000000001"/>
        </c:scaling>
        <c:delete val="1"/>
        <c:axPos val="t"/>
        <c:numFmt formatCode="0%" sourceLinked="1"/>
        <c:majorTickMark val="out"/>
        <c:minorTickMark val="none"/>
        <c:tickLblPos val="nextTo"/>
        <c:crossAx val="185878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7541752874139278"/>
          <c:y val="9.5120825918402815E-3"/>
          <c:w val="0.32137944168665017"/>
          <c:h val="5.154299943060541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/>
              </a:solidFill>
              <a:latin typeface="+mn-lt"/>
              <a:ea typeface="+mn-ea"/>
              <a:cs typeface="Helvetica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just">
        <a:defRPr sz="1200" b="1">
          <a:solidFill>
            <a:schemeClr val="tx1"/>
          </a:solidFill>
          <a:latin typeface="+mn-lt"/>
          <a:cs typeface="Helvetica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4104086444504963"/>
          <c:y val="6.8193158092775916E-2"/>
          <c:w val="0.68179304563332876"/>
          <c:h val="0.90647259479912234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ot at all likely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t featured your favorite products or brands</c:v>
                </c:pt>
                <c:pt idx="1">
                  <c:v>It was entertaining (e.g., creative, clever, humorous, etc.)</c:v>
                </c:pt>
                <c:pt idx="2">
                  <c:v>It featured a special or limited time offer from a store or business</c:v>
                </c:pt>
                <c:pt idx="3">
                  <c:v>It featured your favorite artists, celebrities, or social/cultural influencers</c:v>
                </c:pt>
                <c:pt idx="4">
                  <c:v>It was educational/taught you something</c:v>
                </c:pt>
                <c:pt idx="5">
                  <c:v>It related to or reflected your local community</c:v>
                </c:pt>
                <c:pt idx="6">
                  <c:v>It introduced you to new brands or products</c:v>
                </c:pt>
                <c:pt idx="7">
                  <c:v>It featured products or brands that aligned with your personal values</c:v>
                </c:pt>
                <c:pt idx="8">
                  <c:v>It was culturally or socially relevant</c:v>
                </c:pt>
                <c:pt idx="9">
                  <c:v>It featured information for upcoming sporting or special events</c:v>
                </c:pt>
                <c:pt idx="10">
                  <c:v>It used unconventional or provocative messaging</c:v>
                </c:pt>
              </c:strCache>
            </c:strRef>
          </c:cat>
          <c:val>
            <c:numRef>
              <c:f>Sheet1!$B$2:$B$12</c:f>
              <c:numCache>
                <c:formatCode>0%</c:formatCode>
                <c:ptCount val="11"/>
                <c:pt idx="0">
                  <c:v>0.29275999000000003</c:v>
                </c:pt>
                <c:pt idx="1">
                  <c:v>0.26117478</c:v>
                </c:pt>
                <c:pt idx="2">
                  <c:v>0.33489628999999999</c:v>
                </c:pt>
                <c:pt idx="3">
                  <c:v>0.38056345000000003</c:v>
                </c:pt>
                <c:pt idx="4">
                  <c:v>0.33031685999999999</c:v>
                </c:pt>
                <c:pt idx="5">
                  <c:v>0.36526013000000002</c:v>
                </c:pt>
                <c:pt idx="6">
                  <c:v>0.33821888999999999</c:v>
                </c:pt>
                <c:pt idx="7">
                  <c:v>0.33562810999999998</c:v>
                </c:pt>
                <c:pt idx="8">
                  <c:v>0.39843807999999997</c:v>
                </c:pt>
                <c:pt idx="9">
                  <c:v>0.38434941</c:v>
                </c:pt>
                <c:pt idx="10">
                  <c:v>0.48574553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B99-4993-9BDF-A916AC8D1DF6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omewhat Likely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t featured your favorite products or brands</c:v>
                </c:pt>
                <c:pt idx="1">
                  <c:v>It was entertaining (e.g., creative, clever, humorous, etc.)</c:v>
                </c:pt>
                <c:pt idx="2">
                  <c:v>It featured a special or limited time offer from a store or business</c:v>
                </c:pt>
                <c:pt idx="3">
                  <c:v>It featured your favorite artists, celebrities, or social/cultural influencers</c:v>
                </c:pt>
                <c:pt idx="4">
                  <c:v>It was educational/taught you something</c:v>
                </c:pt>
                <c:pt idx="5">
                  <c:v>It related to or reflected your local community</c:v>
                </c:pt>
                <c:pt idx="6">
                  <c:v>It introduced you to new brands or products</c:v>
                </c:pt>
                <c:pt idx="7">
                  <c:v>It featured products or brands that aligned with your personal values</c:v>
                </c:pt>
                <c:pt idx="8">
                  <c:v>It was culturally or socially relevant</c:v>
                </c:pt>
                <c:pt idx="9">
                  <c:v>It featured information for upcoming sporting or special events</c:v>
                </c:pt>
                <c:pt idx="10">
                  <c:v>It used unconventional or provocative messaging</c:v>
                </c:pt>
              </c:strCache>
            </c:strRef>
          </c:cat>
          <c:val>
            <c:numRef>
              <c:f>Sheet1!$C$2:$C$12</c:f>
              <c:numCache>
                <c:formatCode>0%</c:formatCode>
                <c:ptCount val="11"/>
                <c:pt idx="0">
                  <c:v>0.41679529999999998</c:v>
                </c:pt>
                <c:pt idx="1">
                  <c:v>0.45272508</c:v>
                </c:pt>
                <c:pt idx="2">
                  <c:v>0.44012148000000001</c:v>
                </c:pt>
                <c:pt idx="3">
                  <c:v>0.39912142</c:v>
                </c:pt>
                <c:pt idx="4">
                  <c:v>0.44971735000000002</c:v>
                </c:pt>
                <c:pt idx="5">
                  <c:v>0.4150761</c:v>
                </c:pt>
                <c:pt idx="6">
                  <c:v>0.44396711999999999</c:v>
                </c:pt>
                <c:pt idx="7">
                  <c:v>0.46523368999999998</c:v>
                </c:pt>
                <c:pt idx="8">
                  <c:v>0.40445144999999999</c:v>
                </c:pt>
                <c:pt idx="9">
                  <c:v>0.42760800999999998</c:v>
                </c:pt>
                <c:pt idx="10">
                  <c:v>0.359941999999999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B99-4993-9BDF-A916AC8D1DF6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Very likely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9D4B-41F4-AB7F-849F1CD0DA3F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9D4B-41F4-AB7F-849F1CD0DA3F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B07-459C-A01B-C4E98A22691E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9D4B-41F4-AB7F-849F1CD0DA3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2</c:f>
              <c:strCache>
                <c:ptCount val="11"/>
                <c:pt idx="0">
                  <c:v>It featured your favorite products or brands</c:v>
                </c:pt>
                <c:pt idx="1">
                  <c:v>It was entertaining (e.g., creative, clever, humorous, etc.)</c:v>
                </c:pt>
                <c:pt idx="2">
                  <c:v>It featured a special or limited time offer from a store or business</c:v>
                </c:pt>
                <c:pt idx="3">
                  <c:v>It featured your favorite artists, celebrities, or social/cultural influencers</c:v>
                </c:pt>
                <c:pt idx="4">
                  <c:v>It was educational/taught you something</c:v>
                </c:pt>
                <c:pt idx="5">
                  <c:v>It related to or reflected your local community</c:v>
                </c:pt>
                <c:pt idx="6">
                  <c:v>It introduced you to new brands or products</c:v>
                </c:pt>
                <c:pt idx="7">
                  <c:v>It featured products or brands that aligned with your personal values</c:v>
                </c:pt>
                <c:pt idx="8">
                  <c:v>It was culturally or socially relevant</c:v>
                </c:pt>
                <c:pt idx="9">
                  <c:v>It featured information for upcoming sporting or special events</c:v>
                </c:pt>
                <c:pt idx="10">
                  <c:v>It used unconventional or provocative messaging</c:v>
                </c:pt>
              </c:strCache>
            </c:strRef>
          </c:cat>
          <c:val>
            <c:numRef>
              <c:f>Sheet1!$D$2:$D$12</c:f>
              <c:numCache>
                <c:formatCode>0%</c:formatCode>
                <c:ptCount val="11"/>
                <c:pt idx="0">
                  <c:v>0.29044470999999999</c:v>
                </c:pt>
                <c:pt idx="1">
                  <c:v>0.28610014</c:v>
                </c:pt>
                <c:pt idx="2">
                  <c:v>0.22498223000000001</c:v>
                </c:pt>
                <c:pt idx="3">
                  <c:v>0.22031513</c:v>
                </c:pt>
                <c:pt idx="4">
                  <c:v>0.21996579999999999</c:v>
                </c:pt>
                <c:pt idx="5">
                  <c:v>0.21966377000000001</c:v>
                </c:pt>
                <c:pt idx="6">
                  <c:v>0.21781399000000001</c:v>
                </c:pt>
                <c:pt idx="7">
                  <c:v>0.19913819999999999</c:v>
                </c:pt>
                <c:pt idx="8">
                  <c:v>0.19711048</c:v>
                </c:pt>
                <c:pt idx="9">
                  <c:v>0.18804257999999999</c:v>
                </c:pt>
                <c:pt idx="10">
                  <c:v>0.15431246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2B99-4993-9BDF-A916AC8D1D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58789952"/>
        <c:axId val="1858800768"/>
      </c:barChart>
      <c:catAx>
        <c:axId val="185878995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10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Helvetica" panose="020B0604020202020204" pitchFamily="34" charset="0"/>
              </a:defRPr>
            </a:pPr>
            <a:endParaRPr lang="en-US"/>
          </a:p>
        </c:txPr>
        <c:crossAx val="1858800768"/>
        <c:crosses val="autoZero"/>
        <c:auto val="1"/>
        <c:lblAlgn val="ctr"/>
        <c:lblOffset val="100"/>
        <c:noMultiLvlLbl val="0"/>
      </c:catAx>
      <c:valAx>
        <c:axId val="1858800768"/>
        <c:scaling>
          <c:orientation val="minMax"/>
          <c:max val="1.1000000000000001"/>
        </c:scaling>
        <c:delete val="1"/>
        <c:axPos val="t"/>
        <c:numFmt formatCode="0%" sourceLinked="1"/>
        <c:majorTickMark val="out"/>
        <c:minorTickMark val="none"/>
        <c:tickLblPos val="nextTo"/>
        <c:crossAx val="185878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37541752874139278"/>
          <c:y val="9.5120825918402815E-3"/>
          <c:w val="0.31910783301891943"/>
          <c:h val="5.584441328675658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50" b="1" i="0" u="none" strike="noStrike" kern="1200" baseline="0">
              <a:solidFill>
                <a:schemeClr val="tx1"/>
              </a:solidFill>
              <a:latin typeface="+mn-lt"/>
              <a:ea typeface="+mn-ea"/>
              <a:cs typeface="Helvetica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just">
        <a:defRPr sz="1200" b="1">
          <a:solidFill>
            <a:schemeClr val="tx1"/>
          </a:solidFill>
          <a:latin typeface="+mn-lt"/>
          <a:cs typeface="Helvetica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6155704943325524"/>
          <c:y val="0"/>
          <c:w val="0.38253937108405883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Gen Pop</c:v>
                </c:pt>
              </c:strCache>
            </c:strRef>
          </c:tx>
          <c:spPr>
            <a:solidFill>
              <a:srgbClr val="00CF9C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CF9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848B-4C5A-BB0F-C9E527A8DA37}"/>
              </c:ext>
            </c:extLst>
          </c:dPt>
          <c:dPt>
            <c:idx val="8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848B-4C5A-BB0F-C9E527A8DA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0</c:f>
              <c:strCache>
                <c:ptCount val="9"/>
                <c:pt idx="0">
                  <c:v>Any of These (NET)</c:v>
                </c:pt>
                <c:pt idx="1">
                  <c:v>It was clever or funny</c:v>
                </c:pt>
                <c:pt idx="2">
                  <c:v>It was colorful and vibrant</c:v>
                </c:pt>
                <c:pt idx="3">
                  <c:v>It had a simple design with few words and was easy to read</c:v>
                </c:pt>
                <c:pt idx="4">
                  <c:v>It made me feel something emotionally</c:v>
                </c:pt>
                <c:pt idx="5">
                  <c:v>It was big and bold (e.g., larger than life, hard to miss, etc.)</c:v>
                </c:pt>
                <c:pt idx="6">
                  <c:v>It was abstract and made me think</c:v>
                </c:pt>
                <c:pt idx="7">
                  <c:v>Something else (please specify)</c:v>
                </c:pt>
                <c:pt idx="8">
                  <c:v>N/A - No creative aspects for a digital out-of-home ad would increase my likelihood to take an action</c:v>
                </c:pt>
              </c:strCache>
            </c:strRef>
          </c:cat>
          <c:val>
            <c:numRef>
              <c:f>Sheet1!$B$2:$B$10</c:f>
              <c:numCache>
                <c:formatCode>0%</c:formatCode>
                <c:ptCount val="9"/>
                <c:pt idx="0">
                  <c:v>0.7956394</c:v>
                </c:pt>
                <c:pt idx="1">
                  <c:v>0.51444507000000006</c:v>
                </c:pt>
                <c:pt idx="2">
                  <c:v>0.32335504999999998</c:v>
                </c:pt>
                <c:pt idx="3">
                  <c:v>0.30144031999999998</c:v>
                </c:pt>
                <c:pt idx="4">
                  <c:v>0.28419449000000002</c:v>
                </c:pt>
                <c:pt idx="5">
                  <c:v>0.28290786000000001</c:v>
                </c:pt>
                <c:pt idx="6">
                  <c:v>0.24241592000000001</c:v>
                </c:pt>
                <c:pt idx="7">
                  <c:v>1.026877E-2</c:v>
                </c:pt>
                <c:pt idx="8">
                  <c:v>0.20436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848B-4C5A-BB0F-C9E527A8DA3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30770384"/>
        <c:axId val="845554192"/>
      </c:barChart>
      <c:catAx>
        <c:axId val="9307703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Helvetica" pitchFamily="2" charset="0"/>
                <a:ea typeface="+mn-ea"/>
                <a:cs typeface="Helvetica" panose="020B0604020202020204" pitchFamily="34" charset="0"/>
              </a:defRPr>
            </a:pPr>
            <a:endParaRPr lang="en-US"/>
          </a:p>
        </c:txPr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t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900310848200227"/>
          <c:y val="3.916925294954008E-2"/>
          <c:w val="0.49200129743393917"/>
          <c:h val="0.9345825810939520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Y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5179-483B-84A7-58B190FF1E37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6C66-42E6-AF2C-F6742628152D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6C66-42E6-AF2C-F6742628152D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3754-44D4-B71E-D788A662A1B4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3754-44D4-B71E-D788A662A1B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rivate Vehicles*</c:v>
                </c:pt>
                <c:pt idx="1">
                  <c:v>Walkers*</c:v>
                </c:pt>
                <c:pt idx="2">
                  <c:v>Flyers**</c:v>
                </c:pt>
                <c:pt idx="3">
                  <c:v>Public Transit Users*</c:v>
                </c:pt>
                <c:pt idx="4">
                  <c:v>Rail Users*</c:v>
                </c:pt>
                <c:pt idx="6">
                  <c:v>Key Transit Market Residents</c:v>
                </c:pt>
                <c:pt idx="8">
                  <c:v>Suburban</c:v>
                </c:pt>
                <c:pt idx="9">
                  <c:v>Rural</c:v>
                </c:pt>
                <c:pt idx="10">
                  <c:v>Urban &lt;1M</c:v>
                </c:pt>
                <c:pt idx="11">
                  <c:v>Urban 1M+</c:v>
                </c:pt>
                <c:pt idx="13">
                  <c:v>Boomer +</c:v>
                </c:pt>
                <c:pt idx="14">
                  <c:v>Gen X</c:v>
                </c:pt>
                <c:pt idx="15">
                  <c:v>Millennial</c:v>
                </c:pt>
                <c:pt idx="16">
                  <c:v>Gen Z</c:v>
                </c:pt>
                <c:pt idx="18">
                  <c:v>Women</c:v>
                </c:pt>
                <c:pt idx="19">
                  <c:v>Men</c:v>
                </c:pt>
              </c:strCache>
            </c:strRef>
          </c:cat>
          <c:val>
            <c:numRef>
              <c:f>Sheet1!$B$2:$B$21</c:f>
              <c:numCache>
                <c:formatCode>0%</c:formatCode>
                <c:ptCount val="20"/>
                <c:pt idx="0">
                  <c:v>0.8</c:v>
                </c:pt>
                <c:pt idx="1">
                  <c:v>0.83</c:v>
                </c:pt>
                <c:pt idx="2">
                  <c:v>0.83</c:v>
                </c:pt>
                <c:pt idx="3">
                  <c:v>0.88</c:v>
                </c:pt>
                <c:pt idx="4">
                  <c:v>0.92</c:v>
                </c:pt>
                <c:pt idx="6">
                  <c:v>0.79</c:v>
                </c:pt>
                <c:pt idx="8">
                  <c:v>0.78</c:v>
                </c:pt>
                <c:pt idx="9">
                  <c:v>0.79</c:v>
                </c:pt>
                <c:pt idx="10">
                  <c:v>0.79</c:v>
                </c:pt>
                <c:pt idx="11">
                  <c:v>0.81</c:v>
                </c:pt>
                <c:pt idx="13">
                  <c:v>0.67</c:v>
                </c:pt>
                <c:pt idx="14">
                  <c:v>0.75</c:v>
                </c:pt>
                <c:pt idx="15">
                  <c:v>0.85</c:v>
                </c:pt>
                <c:pt idx="16">
                  <c:v>0.85</c:v>
                </c:pt>
                <c:pt idx="18">
                  <c:v>0.75</c:v>
                </c:pt>
                <c:pt idx="19">
                  <c:v>0.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6C66-42E6-AF2C-F6742628152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13047296"/>
        <c:axId val="206826880"/>
      </c:barChart>
      <c:catAx>
        <c:axId val="21304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6880"/>
        <c:crosses val="autoZero"/>
        <c:auto val="1"/>
        <c:lblAlgn val="ctr"/>
        <c:lblOffset val="100"/>
        <c:noMultiLvlLbl val="0"/>
      </c:catAx>
      <c:valAx>
        <c:axId val="20682688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1304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 i="0">
          <a:solidFill>
            <a:schemeClr val="tx1"/>
          </a:solidFill>
          <a:latin typeface="Helvetica" pitchFamily="2" charset="0"/>
        </a:defRPr>
      </a:pPr>
      <a:endParaRPr lang="en-US"/>
    </a:p>
  </c:txPr>
  <c:externalData r:id="rId3">
    <c:autoUpdate val="0"/>
  </c:externalData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1.5673780393302781E-2"/>
          <c:y val="0.1921623050769711"/>
          <c:w val="0.93913360373120858"/>
          <c:h val="0.61408319547411183"/>
        </c:manualLayout>
      </c:layout>
      <c:barChart>
        <c:barDir val="col"/>
        <c:grouping val="stack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Somewhat</c:v>
                </c:pt>
              </c:strCache>
            </c:strRef>
          </c:tx>
          <c:spPr>
            <a:solidFill>
              <a:srgbClr val="019EDB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anose="020B0604020202020204" pitchFamily="34" charset="0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Special deals on groceries</c:v>
                </c:pt>
                <c:pt idx="1">
                  <c:v>Special deals at restaurants</c:v>
                </c:pt>
                <c:pt idx="2">
                  <c:v>Updates on current traffic conditions</c:v>
                </c:pt>
                <c:pt idx="3">
                  <c:v>Offers related to current weather conditions </c:v>
                </c:pt>
                <c:pt idx="4">
                  <c:v>Time-specific offers/discounts based on time of day</c:v>
                </c:pt>
                <c:pt idx="5">
                  <c:v>Special deals on clothing, shoes, or accessories</c:v>
                </c:pt>
                <c:pt idx="6">
                  <c:v>Reminders about special local events</c:v>
                </c:pt>
                <c:pt idx="7">
                  <c:v>Reminders about TV/streaming video programming</c:v>
                </c:pt>
                <c:pt idx="8">
                  <c:v>Updates on news or sports headlines</c:v>
                </c:pt>
                <c:pt idx="9">
                  <c:v>Updates on wait times for hospital emergency rooms</c:v>
                </c:pt>
                <c:pt idx="10">
                  <c:v>Special offers from professional services</c:v>
                </c:pt>
                <c:pt idx="11">
                  <c:v>Special offers from home repair services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42</c:v>
                </c:pt>
                <c:pt idx="1">
                  <c:v>0.48</c:v>
                </c:pt>
                <c:pt idx="2">
                  <c:v>0.4</c:v>
                </c:pt>
                <c:pt idx="3">
                  <c:v>0.52</c:v>
                </c:pt>
                <c:pt idx="4">
                  <c:v>0.48</c:v>
                </c:pt>
                <c:pt idx="5">
                  <c:v>0.46</c:v>
                </c:pt>
                <c:pt idx="6">
                  <c:v>0.5</c:v>
                </c:pt>
                <c:pt idx="7">
                  <c:v>0.5</c:v>
                </c:pt>
                <c:pt idx="8">
                  <c:v>0.46</c:v>
                </c:pt>
                <c:pt idx="9">
                  <c:v>0.38</c:v>
                </c:pt>
                <c:pt idx="10">
                  <c:v>0.47</c:v>
                </c:pt>
                <c:pt idx="11">
                  <c:v>0.4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A17F-4E97-90B9-E19A6A58D4B3}"/>
            </c:ext>
          </c:extLst>
        </c:ser>
        <c:ser>
          <c:idx val="0"/>
          <c:order val="1"/>
          <c:tx>
            <c:strRef>
              <c:f>Sheet1!$C$1</c:f>
              <c:strCache>
                <c:ptCount val="1"/>
                <c:pt idx="0">
                  <c:v>Very</c:v>
                </c:pt>
              </c:strCache>
            </c:strRef>
          </c:tx>
          <c:spPr>
            <a:solidFill>
              <a:srgbClr val="019EDB"/>
            </a:solidFill>
            <a:ln>
              <a:noFill/>
            </a:ln>
            <a:effectLst/>
          </c:spPr>
          <c:invertIfNegative val="0"/>
          <c:dPt>
            <c:idx val="2"/>
            <c:invertIfNegative val="0"/>
            <c:bubble3D val="0"/>
            <c:spPr>
              <a:solidFill>
                <a:srgbClr val="019E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749C-4685-8E24-668CF10DF413}"/>
              </c:ext>
            </c:extLst>
          </c:dPt>
          <c:dPt>
            <c:idx val="3"/>
            <c:invertIfNegative val="0"/>
            <c:bubble3D val="0"/>
            <c:spPr>
              <a:solidFill>
                <a:srgbClr val="019E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EEFF-4B6A-9381-166C644A8911}"/>
              </c:ext>
            </c:extLst>
          </c:dPt>
          <c:dPt>
            <c:idx val="9"/>
            <c:invertIfNegative val="0"/>
            <c:bubble3D val="0"/>
            <c:spPr>
              <a:solidFill>
                <a:srgbClr val="019E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749C-4685-8E24-668CF10DF413}"/>
              </c:ext>
            </c:extLst>
          </c:dPt>
          <c:dPt>
            <c:idx val="10"/>
            <c:invertIfNegative val="0"/>
            <c:bubble3D val="0"/>
            <c:spPr>
              <a:solidFill>
                <a:srgbClr val="019EDB"/>
              </a:solidFill>
              <a:ln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EFF-4B6A-9381-166C644A8911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Special deals on groceries</c:v>
                </c:pt>
                <c:pt idx="1">
                  <c:v>Special deals at restaurants</c:v>
                </c:pt>
                <c:pt idx="2">
                  <c:v>Updates on current traffic conditions</c:v>
                </c:pt>
                <c:pt idx="3">
                  <c:v>Offers related to current weather conditions </c:v>
                </c:pt>
                <c:pt idx="4">
                  <c:v>Time-specific offers/discounts based on time of day</c:v>
                </c:pt>
                <c:pt idx="5">
                  <c:v>Special deals on clothing, shoes, or accessories</c:v>
                </c:pt>
                <c:pt idx="6">
                  <c:v>Reminders about special local events</c:v>
                </c:pt>
                <c:pt idx="7">
                  <c:v>Reminders about TV/streaming video programming</c:v>
                </c:pt>
                <c:pt idx="8">
                  <c:v>Updates on news or sports headlines</c:v>
                </c:pt>
                <c:pt idx="9">
                  <c:v>Updates on wait times for hospital emergency rooms</c:v>
                </c:pt>
                <c:pt idx="10">
                  <c:v>Special offers from professional services</c:v>
                </c:pt>
                <c:pt idx="11">
                  <c:v>Special offers from home repair services</c:v>
                </c:pt>
              </c:strCache>
            </c:strRef>
          </c:cat>
          <c:val>
            <c:numRef>
              <c:f>Sheet1!$C$2:$C$13</c:f>
              <c:numCache>
                <c:formatCode>0%</c:formatCode>
                <c:ptCount val="12"/>
                <c:pt idx="0">
                  <c:v>0.44</c:v>
                </c:pt>
                <c:pt idx="1">
                  <c:v>0.36</c:v>
                </c:pt>
                <c:pt idx="2">
                  <c:v>0.43</c:v>
                </c:pt>
                <c:pt idx="3">
                  <c:v>0.28999999999999998</c:v>
                </c:pt>
                <c:pt idx="4">
                  <c:v>0.32</c:v>
                </c:pt>
                <c:pt idx="5">
                  <c:v>0.33</c:v>
                </c:pt>
                <c:pt idx="6">
                  <c:v>0.27</c:v>
                </c:pt>
                <c:pt idx="7">
                  <c:v>0.25</c:v>
                </c:pt>
                <c:pt idx="8">
                  <c:v>0.25</c:v>
                </c:pt>
                <c:pt idx="9">
                  <c:v>0.33</c:v>
                </c:pt>
                <c:pt idx="10">
                  <c:v>0.2</c:v>
                </c:pt>
                <c:pt idx="11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A17F-4E97-90B9-E19A6A58D4B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930770384"/>
        <c:axId val="845554192"/>
      </c:barChart>
      <c:catAx>
        <c:axId val="930770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Helvetica" pitchFamily="2" charset="0"/>
                <a:ea typeface="+mn-ea"/>
                <a:cs typeface="Helvetica" panose="020B0604020202020204" pitchFamily="34" charset="0"/>
              </a:defRPr>
            </a:pPr>
            <a:endParaRPr lang="en-US"/>
          </a:p>
        </c:txPr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t"/>
      <c:layout>
        <c:manualLayout>
          <c:xMode val="edge"/>
          <c:yMode val="edge"/>
          <c:x val="0.42288408562664559"/>
          <c:y val="2.0227611060733799E-2"/>
          <c:w val="0.12201422026563448"/>
          <c:h val="6.124586156881316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75"/>
      <c:rotY val="0"/>
      <c:rAngAx val="1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 w="25400">
          <a:noFill/>
        </a:ln>
        <a:effectLst/>
        <a:sp3d/>
      </c:spPr>
    </c:sideWall>
    <c:backWall>
      <c:thickness val="0"/>
      <c:spPr>
        <a:noFill/>
        <a:ln w="25400"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3.5749884669090709E-2"/>
          <c:y val="7.3249126634990197E-2"/>
          <c:w val="0.95356108253489702"/>
          <c:h val="0.85249690390962152"/>
        </c:manualLayout>
      </c:layout>
      <c:pie3DChart>
        <c:varyColors val="1"/>
        <c:ser>
          <c:idx val="1"/>
          <c:order val="0"/>
          <c:tx>
            <c:strRef>
              <c:f>Sheet1!$B$1</c:f>
              <c:strCache>
                <c:ptCount val="1"/>
                <c:pt idx="0">
                  <c:v>% Notice</c:v>
                </c:pt>
              </c:strCache>
            </c:strRef>
          </c:tx>
          <c:spPr>
            <a:solidFill>
              <a:srgbClr val="00CF9C"/>
            </a:solidFill>
            <a:ln>
              <a:solidFill>
                <a:srgbClr val="019EDB"/>
              </a:solidFill>
            </a:ln>
          </c:spPr>
          <c:dPt>
            <c:idx val="0"/>
            <c:bubble3D val="0"/>
            <c:spPr>
              <a:solidFill>
                <a:srgbClr val="019EDB"/>
              </a:solidFill>
              <a:ln>
                <a:solidFill>
                  <a:srgbClr val="019EDB"/>
                </a:solidFill>
              </a:ln>
              <a:effectLst/>
              <a:sp3d>
                <a:contourClr>
                  <a:srgbClr val="019EDB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5999-4F25-B5E9-5DC75F13628F}"/>
              </c:ext>
            </c:extLst>
          </c:dPt>
          <c:dPt>
            <c:idx val="1"/>
            <c:bubble3D val="0"/>
            <c:spPr>
              <a:noFill/>
              <a:ln>
                <a:solidFill>
                  <a:srgbClr val="019EDB"/>
                </a:solidFill>
              </a:ln>
              <a:effectLst/>
              <a:sp3d>
                <a:contourClr>
                  <a:srgbClr val="019EDB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5999-4F25-B5E9-5DC75F13628F}"/>
              </c:ext>
            </c:extLst>
          </c:dPt>
          <c:dLbls>
            <c:dLbl>
              <c:idx val="0"/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5999-4F25-B5E9-5DC75F13628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ctr"/>
            <c:showLegendKey val="0"/>
            <c:showVal val="0"/>
            <c:showCatName val="0"/>
            <c:showSerName val="0"/>
            <c:showPercent val="0"/>
            <c:showBubbleSize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3</c:f>
              <c:strCache>
                <c:ptCount val="2"/>
                <c:pt idx="0">
                  <c:v>Interested</c:v>
                </c:pt>
                <c:pt idx="1">
                  <c:v>Not interested</c:v>
                </c:pt>
              </c:strCache>
            </c:strRef>
          </c:cat>
          <c:val>
            <c:numRef>
              <c:f>Sheet1!$B$2:$B$3</c:f>
              <c:numCache>
                <c:formatCode>0%</c:formatCode>
                <c:ptCount val="2"/>
                <c:pt idx="0">
                  <c:v>0.72</c:v>
                </c:pt>
                <c:pt idx="1">
                  <c:v>0.280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999-4F25-B5E9-5DC75F1362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9665351703371066E-3"/>
          <c:y val="0.14969309635373049"/>
          <c:w val="0.97767258131184054"/>
          <c:h val="0.7034090373901774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ess Likely (NET)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levision/streaming video</c:v>
                </c:pt>
                <c:pt idx="1">
                  <c:v>Social media</c:v>
                </c:pt>
                <c:pt idx="2">
                  <c:v>Online media, websites, and search engines </c:v>
                </c:pt>
                <c:pt idx="3">
                  <c:v>Radio, podcasts, and audio streaming</c:v>
                </c:pt>
                <c:pt idx="4">
                  <c:v>Magazines or newspapers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16165182</c:v>
                </c:pt>
                <c:pt idx="1">
                  <c:v>0.17192604</c:v>
                </c:pt>
                <c:pt idx="2">
                  <c:v>0.16053379000000001</c:v>
                </c:pt>
                <c:pt idx="3">
                  <c:v>0.19229203</c:v>
                </c:pt>
                <c:pt idx="4">
                  <c:v>0.2177667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70B-4E70-890D-6A7387EC9E0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Neither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levision/streaming video</c:v>
                </c:pt>
                <c:pt idx="1">
                  <c:v>Social media</c:v>
                </c:pt>
                <c:pt idx="2">
                  <c:v>Online media, websites, and search engines </c:v>
                </c:pt>
                <c:pt idx="3">
                  <c:v>Radio, podcasts, and audio streaming</c:v>
                </c:pt>
                <c:pt idx="4">
                  <c:v>Magazines or newspapers</c:v>
                </c:pt>
              </c:strCache>
            </c:strRef>
          </c:cat>
          <c:val>
            <c:numRef>
              <c:f>Sheet1!$C$2:$C$6</c:f>
              <c:numCache>
                <c:formatCode>0%</c:formatCode>
                <c:ptCount val="5"/>
                <c:pt idx="0">
                  <c:v>0.38796210999999992</c:v>
                </c:pt>
                <c:pt idx="1">
                  <c:v>0.38394415000000004</c:v>
                </c:pt>
                <c:pt idx="2">
                  <c:v>0.43519081999999998</c:v>
                </c:pt>
                <c:pt idx="3">
                  <c:v>0.47238340000000001</c:v>
                </c:pt>
                <c:pt idx="4">
                  <c:v>0.4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D70B-4E70-890D-6A7387EC9E0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More Likely (NET)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D70B-4E70-890D-6A7387EC9E08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D70B-4E70-890D-6A7387EC9E08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D70B-4E70-890D-6A7387EC9E08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6</c:f>
              <c:strCache>
                <c:ptCount val="5"/>
                <c:pt idx="0">
                  <c:v>Television/streaming video</c:v>
                </c:pt>
                <c:pt idx="1">
                  <c:v>Social media</c:v>
                </c:pt>
                <c:pt idx="2">
                  <c:v>Online media, websites, and search engines </c:v>
                </c:pt>
                <c:pt idx="3">
                  <c:v>Radio, podcasts, and audio streaming</c:v>
                </c:pt>
                <c:pt idx="4">
                  <c:v>Magazines or newspapers</c:v>
                </c:pt>
              </c:strCache>
            </c:strRef>
          </c:cat>
          <c:val>
            <c:numRef>
              <c:f>Sheet1!$D$2:$D$6</c:f>
              <c:numCache>
                <c:formatCode>0%</c:formatCode>
                <c:ptCount val="5"/>
                <c:pt idx="0">
                  <c:v>0.45038607000000003</c:v>
                </c:pt>
                <c:pt idx="1">
                  <c:v>0.44412981000000001</c:v>
                </c:pt>
                <c:pt idx="2">
                  <c:v>0.40427539000000001</c:v>
                </c:pt>
                <c:pt idx="3">
                  <c:v>0.33532456999999999</c:v>
                </c:pt>
                <c:pt idx="4">
                  <c:v>0.33510756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D70B-4E70-890D-6A7387EC9E0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58789952"/>
        <c:axId val="1858800768"/>
      </c:barChart>
      <c:catAx>
        <c:axId val="185878995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 algn="just"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Helvetica" panose="020B0604020202020204" pitchFamily="34" charset="0"/>
              </a:defRPr>
            </a:pPr>
            <a:endParaRPr lang="en-US"/>
          </a:p>
        </c:txPr>
        <c:crossAx val="1858800768"/>
        <c:crosses val="autoZero"/>
        <c:auto val="1"/>
        <c:lblAlgn val="ctr"/>
        <c:lblOffset val="100"/>
        <c:noMultiLvlLbl val="0"/>
      </c:catAx>
      <c:valAx>
        <c:axId val="1858800768"/>
        <c:scaling>
          <c:orientation val="minMax"/>
          <c:max val="1.1000000000000001"/>
        </c:scaling>
        <c:delete val="1"/>
        <c:axPos val="l"/>
        <c:numFmt formatCode="0%" sourceLinked="1"/>
        <c:majorTickMark val="out"/>
        <c:minorTickMark val="none"/>
        <c:tickLblPos val="nextTo"/>
        <c:crossAx val="185878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layout>
        <c:manualLayout>
          <c:xMode val="edge"/>
          <c:yMode val="edge"/>
          <c:x val="0.22135461824633809"/>
          <c:y val="6.70890469595362E-2"/>
          <c:w val="0.57220872280684343"/>
          <c:h val="7.1694543786712139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Helvetica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just">
        <a:defRPr sz="1200" b="1">
          <a:solidFill>
            <a:schemeClr val="tx1"/>
          </a:solidFill>
          <a:latin typeface="+mn-lt"/>
          <a:cs typeface="Helvetica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900310848200227"/>
          <c:y val="3.916925294954008E-2"/>
          <c:w val="0.49200129743393917"/>
          <c:h val="0.9345825810939520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Ye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1BE-484D-9407-6E1E99B51EC2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1BE-484D-9407-6E1E99B51EC2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1BE-484D-9407-6E1E99B51EC2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1BE-484D-9407-6E1E99B51EC2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1BE-484D-9407-6E1E99B51EC2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5</c:f>
              <c:strCache>
                <c:ptCount val="24"/>
                <c:pt idx="0">
                  <c:v>Private Vehicles*</c:v>
                </c:pt>
                <c:pt idx="1">
                  <c:v>Walkers*</c:v>
                </c:pt>
                <c:pt idx="2">
                  <c:v>Flyers**</c:v>
                </c:pt>
                <c:pt idx="3">
                  <c:v>Public Transit Users*</c:v>
                </c:pt>
                <c:pt idx="4">
                  <c:v>Rail Users*</c:v>
                </c:pt>
                <c:pt idx="6">
                  <c:v>Key Transit Market Residents</c:v>
                </c:pt>
                <c:pt idx="8">
                  <c:v>Rural</c:v>
                </c:pt>
                <c:pt idx="9">
                  <c:v>Suburban</c:v>
                </c:pt>
                <c:pt idx="10">
                  <c:v>Urban &lt;1M</c:v>
                </c:pt>
                <c:pt idx="11">
                  <c:v>Urban 1M+</c:v>
                </c:pt>
                <c:pt idx="13">
                  <c:v>White</c:v>
                </c:pt>
                <c:pt idx="14">
                  <c:v>Hispanic</c:v>
                </c:pt>
                <c:pt idx="15">
                  <c:v>Black</c:v>
                </c:pt>
                <c:pt idx="17">
                  <c:v>Boomer +</c:v>
                </c:pt>
                <c:pt idx="18">
                  <c:v>Gen X</c:v>
                </c:pt>
                <c:pt idx="19">
                  <c:v>Millennial</c:v>
                </c:pt>
                <c:pt idx="20">
                  <c:v>Gen Z</c:v>
                </c:pt>
                <c:pt idx="22">
                  <c:v>Women</c:v>
                </c:pt>
                <c:pt idx="23">
                  <c:v>Men</c:v>
                </c:pt>
              </c:strCache>
            </c:strRef>
          </c:cat>
          <c:val>
            <c:numRef>
              <c:f>Sheet1!$B$2:$B$25</c:f>
              <c:numCache>
                <c:formatCode>0%</c:formatCode>
                <c:ptCount val="24"/>
                <c:pt idx="0">
                  <c:v>0.49</c:v>
                </c:pt>
                <c:pt idx="1">
                  <c:v>0.55000000000000004</c:v>
                </c:pt>
                <c:pt idx="2">
                  <c:v>0.55000000000000004</c:v>
                </c:pt>
                <c:pt idx="3">
                  <c:v>0.66</c:v>
                </c:pt>
                <c:pt idx="4">
                  <c:v>0.74</c:v>
                </c:pt>
                <c:pt idx="6">
                  <c:v>0.52</c:v>
                </c:pt>
                <c:pt idx="8">
                  <c:v>0.43</c:v>
                </c:pt>
                <c:pt idx="9">
                  <c:v>0.47</c:v>
                </c:pt>
                <c:pt idx="10">
                  <c:v>0.44</c:v>
                </c:pt>
                <c:pt idx="11">
                  <c:v>0.56000000000000005</c:v>
                </c:pt>
                <c:pt idx="13">
                  <c:v>0.41</c:v>
                </c:pt>
                <c:pt idx="14">
                  <c:v>0.60634175999999995</c:v>
                </c:pt>
                <c:pt idx="15">
                  <c:v>0.55000000000000004</c:v>
                </c:pt>
                <c:pt idx="17">
                  <c:v>0.28999999999999998</c:v>
                </c:pt>
                <c:pt idx="18">
                  <c:v>0.43</c:v>
                </c:pt>
                <c:pt idx="19">
                  <c:v>0.56000000000000005</c:v>
                </c:pt>
                <c:pt idx="20">
                  <c:v>0.56000000000000005</c:v>
                </c:pt>
                <c:pt idx="22">
                  <c:v>0.4</c:v>
                </c:pt>
                <c:pt idx="23">
                  <c:v>0.5699999999999999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1BE-484D-9407-6E1E99B51EC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13047296"/>
        <c:axId val="206826880"/>
      </c:barChart>
      <c:catAx>
        <c:axId val="21304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6880"/>
        <c:crosses val="autoZero"/>
        <c:auto val="1"/>
        <c:lblAlgn val="ctr"/>
        <c:lblOffset val="100"/>
        <c:noMultiLvlLbl val="0"/>
      </c:catAx>
      <c:valAx>
        <c:axId val="20682688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1304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 i="0">
          <a:solidFill>
            <a:schemeClr val="tx1"/>
          </a:solidFill>
          <a:latin typeface="Helvetica" pitchFamily="2" charset="0"/>
        </a:defRPr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58210715600867657"/>
          <c:y val="0"/>
          <c:w val="0.29317024601287639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Gen Pop</c:v>
                </c:pt>
              </c:strCache>
            </c:strRef>
          </c:tx>
          <c:spPr>
            <a:solidFill>
              <a:srgbClr val="00CF9C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0CF9C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99C8-4050-92DE-BC4853154163}"/>
              </c:ext>
            </c:extLst>
          </c:dPt>
          <c:dPt>
            <c:idx val="8"/>
            <c:invertIfNegative val="0"/>
            <c:bubble3D val="0"/>
            <c:spPr>
              <a:solidFill>
                <a:srgbClr val="00CF9C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147-46A4-B132-E6550200BB4D}"/>
              </c:ext>
            </c:extLst>
          </c:dPt>
          <c:dPt>
            <c:idx val="9"/>
            <c:invertIfNegative val="0"/>
            <c:bubble3D val="0"/>
            <c:spPr>
              <a:solidFill>
                <a:srgbClr val="00CF9C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F147-46A4-B132-E6550200BB4D}"/>
              </c:ext>
            </c:extLst>
          </c:dPt>
          <c:dPt>
            <c:idx val="11"/>
            <c:invertIfNegative val="0"/>
            <c:bubble3D val="0"/>
            <c:spPr>
              <a:solidFill>
                <a:srgbClr val="BFBFBF"/>
              </a:solidFill>
              <a:ln>
                <a:solidFill>
                  <a:srgbClr val="BFBFBF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A6CD-401E-8C6D-ADA9670229B3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3</c:f>
              <c:strCache>
                <c:ptCount val="12"/>
                <c:pt idx="0">
                  <c:v>Any action (NET)</c:v>
                </c:pt>
                <c:pt idx="1">
                  <c:v>Watched an advertised show or program on a TV</c:v>
                </c:pt>
                <c:pt idx="2">
                  <c:v>Visited a restaurant advertised</c:v>
                </c:pt>
                <c:pt idx="3">
                  <c:v>Made a purchase at a store advertised</c:v>
                </c:pt>
                <c:pt idx="4">
                  <c:v>Talked about the advertisement or product with others</c:v>
                </c:pt>
                <c:pt idx="5">
                  <c:v>Visited a store or business advertised</c:v>
                </c:pt>
                <c:pt idx="6">
                  <c:v>Watched an advertised movie in the theater</c:v>
                </c:pt>
                <c:pt idx="7">
                  <c:v>Recommended the advertised product or brand to others</c:v>
                </c:pt>
                <c:pt idx="8">
                  <c:v>Tuned to a radio station</c:v>
                </c:pt>
                <c:pt idx="9">
                  <c:v>Attended an advertised sporting event, festival, concert, performance, or other public event</c:v>
                </c:pt>
                <c:pt idx="10">
                  <c:v>Something else</c:v>
                </c:pt>
                <c:pt idx="11">
                  <c:v>None of these </c:v>
                </c:pt>
              </c:strCache>
            </c:strRef>
          </c:cat>
          <c:val>
            <c:numRef>
              <c:f>Sheet1!$B$2:$B$13</c:f>
              <c:numCache>
                <c:formatCode>0%</c:formatCode>
                <c:ptCount val="12"/>
                <c:pt idx="0">
                  <c:v>0.76</c:v>
                </c:pt>
                <c:pt idx="1">
                  <c:v>0.37887937999999999</c:v>
                </c:pt>
                <c:pt idx="2">
                  <c:v>0.36238573000000002</c:v>
                </c:pt>
                <c:pt idx="3">
                  <c:v>0.30208741</c:v>
                </c:pt>
                <c:pt idx="4">
                  <c:v>0.30465300000000001</c:v>
                </c:pt>
                <c:pt idx="5">
                  <c:v>0.28878450999999999</c:v>
                </c:pt>
                <c:pt idx="6">
                  <c:v>0.29356373000000002</c:v>
                </c:pt>
                <c:pt idx="7">
                  <c:v>0.21831585000000001</c:v>
                </c:pt>
                <c:pt idx="8">
                  <c:v>0.18674764999999999</c:v>
                </c:pt>
                <c:pt idx="9">
                  <c:v>0.17269746</c:v>
                </c:pt>
                <c:pt idx="10">
                  <c:v>8.4601599999999996E-3</c:v>
                </c:pt>
                <c:pt idx="11">
                  <c:v>0.242250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147-46A4-B132-E6550200BB4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30770384"/>
        <c:axId val="845554192"/>
      </c:barChart>
      <c:catAx>
        <c:axId val="9307703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Helvetica" pitchFamily="2" charset="0"/>
                <a:ea typeface="+mn-ea"/>
                <a:cs typeface="Helvetica" panose="020B0604020202020204" pitchFamily="34" charset="0"/>
              </a:defRPr>
            </a:pPr>
            <a:endParaRPr lang="en-US"/>
          </a:p>
        </c:txPr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900310848200227"/>
          <c:y val="3.916925294954008E-2"/>
          <c:w val="0.49200129743393917"/>
          <c:h val="0.9345825810939520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Y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E76C-4EB2-B746-657F3EED3CA6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E76C-4EB2-B746-657F3EED3CA6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76C-4EB2-B746-657F3EED3CA6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E76C-4EB2-B746-657F3EED3CA6}"/>
              </c:ext>
            </c:extLst>
          </c:dPt>
          <c:dPt>
            <c:idx val="1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E76C-4EB2-B746-657F3EED3CA6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5</c:f>
              <c:strCache>
                <c:ptCount val="24"/>
                <c:pt idx="0">
                  <c:v>Private Vehicles*</c:v>
                </c:pt>
                <c:pt idx="1">
                  <c:v>Walkers*</c:v>
                </c:pt>
                <c:pt idx="2">
                  <c:v>Flyers**</c:v>
                </c:pt>
                <c:pt idx="3">
                  <c:v>Public Transit Users*</c:v>
                </c:pt>
                <c:pt idx="4">
                  <c:v>Rail Users*</c:v>
                </c:pt>
                <c:pt idx="6">
                  <c:v>Key Transit Market Residents</c:v>
                </c:pt>
                <c:pt idx="8">
                  <c:v>Rural</c:v>
                </c:pt>
                <c:pt idx="9">
                  <c:v>Suburban</c:v>
                </c:pt>
                <c:pt idx="10">
                  <c:v>Urban &lt;1M</c:v>
                </c:pt>
                <c:pt idx="11">
                  <c:v>Urban 1M+</c:v>
                </c:pt>
                <c:pt idx="13">
                  <c:v>White</c:v>
                </c:pt>
                <c:pt idx="14">
                  <c:v>Hispanic</c:v>
                </c:pt>
                <c:pt idx="15">
                  <c:v>Black</c:v>
                </c:pt>
                <c:pt idx="17">
                  <c:v>Boomer +</c:v>
                </c:pt>
                <c:pt idx="18">
                  <c:v>Gen X</c:v>
                </c:pt>
                <c:pt idx="19">
                  <c:v>Millennial</c:v>
                </c:pt>
                <c:pt idx="20">
                  <c:v>Gen Z</c:v>
                </c:pt>
                <c:pt idx="22">
                  <c:v>Women</c:v>
                </c:pt>
                <c:pt idx="23">
                  <c:v>Men</c:v>
                </c:pt>
              </c:strCache>
            </c:strRef>
          </c:cat>
          <c:val>
            <c:numRef>
              <c:f>Sheet1!$B$2:$B$25</c:f>
              <c:numCache>
                <c:formatCode>0%</c:formatCode>
                <c:ptCount val="24"/>
                <c:pt idx="0">
                  <c:v>0.77</c:v>
                </c:pt>
                <c:pt idx="1">
                  <c:v>0.8</c:v>
                </c:pt>
                <c:pt idx="2">
                  <c:v>0.81</c:v>
                </c:pt>
                <c:pt idx="3">
                  <c:v>0.82</c:v>
                </c:pt>
                <c:pt idx="4">
                  <c:v>0.86</c:v>
                </c:pt>
                <c:pt idx="6">
                  <c:v>0.74</c:v>
                </c:pt>
                <c:pt idx="8">
                  <c:v>0.68</c:v>
                </c:pt>
                <c:pt idx="9">
                  <c:v>0.76</c:v>
                </c:pt>
                <c:pt idx="10">
                  <c:v>0.72</c:v>
                </c:pt>
                <c:pt idx="11">
                  <c:v>0.81</c:v>
                </c:pt>
                <c:pt idx="13">
                  <c:v>0.7</c:v>
                </c:pt>
                <c:pt idx="14">
                  <c:v>0.83</c:v>
                </c:pt>
                <c:pt idx="15">
                  <c:v>0.87</c:v>
                </c:pt>
                <c:pt idx="17">
                  <c:v>0.61</c:v>
                </c:pt>
                <c:pt idx="18">
                  <c:v>0.68</c:v>
                </c:pt>
                <c:pt idx="19">
                  <c:v>0.79</c:v>
                </c:pt>
                <c:pt idx="20">
                  <c:v>0.89</c:v>
                </c:pt>
                <c:pt idx="22">
                  <c:v>0.68</c:v>
                </c:pt>
                <c:pt idx="23">
                  <c:v>0.8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76C-4EB2-B746-657F3EED3C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13047296"/>
        <c:axId val="206826880"/>
      </c:barChart>
      <c:catAx>
        <c:axId val="21304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6880"/>
        <c:crosses val="autoZero"/>
        <c:auto val="1"/>
        <c:lblAlgn val="ctr"/>
        <c:lblOffset val="100"/>
        <c:noMultiLvlLbl val="0"/>
      </c:catAx>
      <c:valAx>
        <c:axId val="20682688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1304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 i="0">
          <a:solidFill>
            <a:schemeClr val="tx1"/>
          </a:solidFill>
          <a:latin typeface="Helvetica" pitchFamily="2" charset="0"/>
        </a:defRPr>
      </a:pPr>
      <a:endParaRPr lang="en-US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61065300431196101"/>
          <c:y val="0"/>
          <c:w val="0.44122012092238466"/>
          <c:h val="1"/>
        </c:manualLayout>
      </c:layout>
      <c:barChart>
        <c:barDir val="bar"/>
        <c:grouping val="clustered"/>
        <c:varyColors val="0"/>
        <c:ser>
          <c:idx val="1"/>
          <c:order val="0"/>
          <c:tx>
            <c:strRef>
              <c:f>Sheet1!$B$1</c:f>
              <c:strCache>
                <c:ptCount val="1"/>
                <c:pt idx="0">
                  <c:v>Gen Pop</c:v>
                </c:pt>
              </c:strCache>
            </c:strRef>
          </c:tx>
          <c:spPr>
            <a:solidFill>
              <a:srgbClr val="019EDB">
                <a:lumMod val="20000"/>
                <a:lumOff val="80000"/>
              </a:srgb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019EDB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A-9AA9-4A7D-A893-0E745AF05889}"/>
              </c:ext>
            </c:extLst>
          </c:dPt>
          <c:dPt>
            <c:idx val="8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9AA9-4A7D-A893-0E745AF05889}"/>
              </c:ext>
            </c:extLst>
          </c:dPt>
          <c:dPt>
            <c:idx val="9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9AA9-4A7D-A893-0E745AF05889}"/>
              </c:ext>
            </c:extLst>
          </c:dPt>
          <c:dPt>
            <c:idx val="10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9AA9-4A7D-A893-0E745AF05889}"/>
              </c:ext>
            </c:extLst>
          </c:dPt>
          <c:dPt>
            <c:idx val="11"/>
            <c:invertIfNegative val="0"/>
            <c:bubble3D val="0"/>
            <c:spPr>
              <a:solidFill>
                <a:srgbClr val="019EDB">
                  <a:lumMod val="20000"/>
                  <a:lumOff val="80000"/>
                </a:srgb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C-9AA9-4A7D-A893-0E745AF05889}"/>
              </c:ext>
            </c:extLst>
          </c:dPt>
          <c:dPt>
            <c:idx val="12"/>
            <c:invertIfNegative val="0"/>
            <c:bubble3D val="0"/>
            <c:spPr>
              <a:solidFill>
                <a:srgbClr val="BFBFBF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9AA9-4A7D-A893-0E745AF05889}"/>
              </c:ext>
            </c:extLst>
          </c:dPt>
          <c:dLbls>
            <c:dLbl>
              <c:idx val="11"/>
              <c:tx>
                <c:rich>
                  <a:bodyPr/>
                  <a:lstStyle/>
                  <a:p>
                    <a:r>
                      <a:rPr lang="en-US"/>
                      <a:t>-</a:t>
                    </a:r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showDataLabelsRange val="0"/>
                </c:ext>
                <c:ext xmlns:c16="http://schemas.microsoft.com/office/drawing/2014/chart" uri="{C3380CC4-5D6E-409C-BE32-E72D297353CC}">
                  <c16:uniqueId val="{0000000C-9AA9-4A7D-A893-0E745AF0588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4</c:f>
              <c:strCache>
                <c:ptCount val="13"/>
                <c:pt idx="0">
                  <c:v>Any action (NET)</c:v>
                </c:pt>
                <c:pt idx="1">
                  <c:v>Used online search to look up information about the advertiser</c:v>
                </c:pt>
                <c:pt idx="2">
                  <c:v>Visited an advertiser's website</c:v>
                </c:pt>
                <c:pt idx="3">
                  <c:v>Visited an advertiser's social media site</c:v>
                </c:pt>
                <c:pt idx="4">
                  <c:v>Downloaded or used an app shown in the advertisement</c:v>
                </c:pt>
                <c:pt idx="5">
                  <c:v>Accessed a coupon, discount code, or other information using a QR code, swipe, tap, or SMS/text technology</c:v>
                </c:pt>
                <c:pt idx="6">
                  <c:v>Watched an advertised show or program</c:v>
                </c:pt>
                <c:pt idx="7">
                  <c:v>Ordered an advertiser's product online</c:v>
                </c:pt>
                <c:pt idx="8">
                  <c:v>Interacted with an advertisement such as sending a message, uploading a photo, or voting</c:v>
                </c:pt>
                <c:pt idx="9">
                  <c:v>Called a phone number advertised</c:v>
                </c:pt>
                <c:pt idx="10">
                  <c:v>Posted about the advertisement or product on a social media platform or blog</c:v>
                </c:pt>
                <c:pt idx="11">
                  <c:v>Something else</c:v>
                </c:pt>
                <c:pt idx="12">
                  <c:v>None of these </c:v>
                </c:pt>
              </c:strCache>
            </c:strRef>
          </c:cat>
          <c:val>
            <c:numRef>
              <c:f>Sheet1!$B$2:$B$14</c:f>
              <c:numCache>
                <c:formatCode>0%</c:formatCode>
                <c:ptCount val="13"/>
                <c:pt idx="0">
                  <c:v>0.74</c:v>
                </c:pt>
                <c:pt idx="1">
                  <c:v>0.43578974999999998</c:v>
                </c:pt>
                <c:pt idx="2">
                  <c:v>0.38437961999999998</c:v>
                </c:pt>
                <c:pt idx="3">
                  <c:v>0.30375906000000003</c:v>
                </c:pt>
                <c:pt idx="4">
                  <c:v>0.26176873000000001</c:v>
                </c:pt>
                <c:pt idx="5">
                  <c:v>0.24382672</c:v>
                </c:pt>
                <c:pt idx="6">
                  <c:v>0.24346472</c:v>
                </c:pt>
                <c:pt idx="7">
                  <c:v>0.22430754</c:v>
                </c:pt>
                <c:pt idx="8">
                  <c:v>0.16411888999999999</c:v>
                </c:pt>
                <c:pt idx="9">
                  <c:v>0.14801454</c:v>
                </c:pt>
                <c:pt idx="10">
                  <c:v>0.13895790999999999</c:v>
                </c:pt>
                <c:pt idx="11">
                  <c:v>0</c:v>
                </c:pt>
                <c:pt idx="12">
                  <c:v>0.2620734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9AA9-4A7D-A893-0E745AF0588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axId val="930770384"/>
        <c:axId val="845554192"/>
      </c:barChart>
      <c:catAx>
        <c:axId val="930770384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1" i="0" u="none" strike="noStrike" kern="1200" baseline="0">
                <a:solidFill>
                  <a:schemeClr val="tx1"/>
                </a:solidFill>
                <a:latin typeface="Helvetica" pitchFamily="2" charset="0"/>
                <a:ea typeface="+mn-ea"/>
                <a:cs typeface="Helvetica" panose="020B0604020202020204" pitchFamily="34" charset="0"/>
              </a:defRPr>
            </a:pPr>
            <a:endParaRPr lang="en-US"/>
          </a:p>
        </c:txPr>
        <c:crossAx val="845554192"/>
        <c:crosses val="autoZero"/>
        <c:auto val="1"/>
        <c:lblAlgn val="ctr"/>
        <c:lblOffset val="100"/>
        <c:noMultiLvlLbl val="0"/>
      </c:catAx>
      <c:valAx>
        <c:axId val="845554192"/>
        <c:scaling>
          <c:orientation val="minMax"/>
          <c:max val="1"/>
        </c:scaling>
        <c:delete val="1"/>
        <c:axPos val="t"/>
        <c:numFmt formatCode="0%" sourceLinked="1"/>
        <c:majorTickMark val="out"/>
        <c:minorTickMark val="none"/>
        <c:tickLblPos val="nextTo"/>
        <c:crossAx val="930770384"/>
        <c:crosses val="autoZero"/>
        <c:crossBetween val="between"/>
      </c:valAx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400"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46900310848200227"/>
          <c:y val="3.916925294954008E-2"/>
          <c:w val="0.49200129743393917"/>
          <c:h val="0.93458258109395209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% Yes</c:v>
                </c:pt>
              </c:strCache>
            </c:strRef>
          </c:tx>
          <c:spPr>
            <a:solidFill>
              <a:srgbClr val="019EDB"/>
            </a:solidFill>
            <a:ln>
              <a:noFill/>
            </a:ln>
            <a:effectLst/>
          </c:spPr>
          <c:invertIfNegative val="0"/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837-46E8-B2F2-4EAFF6B108F4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36BF-4817-BEB6-99F0E199CE55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36BF-4817-BEB6-99F0E199CE55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2AEE-4FE4-8EB6-C4C1B0724C6F}"/>
              </c:ext>
            </c:extLst>
          </c:dPt>
          <c:dPt>
            <c:idx val="1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2AEE-4FE4-8EB6-C4C1B0724C6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000" b="1" i="0" u="none" strike="noStrike" kern="1200" baseline="0">
                    <a:solidFill>
                      <a:schemeClr val="tx1"/>
                    </a:solidFill>
                    <a:latin typeface="Helvetica" pitchFamily="2" charset="0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21</c:f>
              <c:strCache>
                <c:ptCount val="20"/>
                <c:pt idx="0">
                  <c:v>Private Vehicles*</c:v>
                </c:pt>
                <c:pt idx="1">
                  <c:v>Walkers*</c:v>
                </c:pt>
                <c:pt idx="2">
                  <c:v>Flyers**</c:v>
                </c:pt>
                <c:pt idx="3">
                  <c:v>Public Transit Users*</c:v>
                </c:pt>
                <c:pt idx="4">
                  <c:v>Rail Users*</c:v>
                </c:pt>
                <c:pt idx="6">
                  <c:v>Key Transit Market Residents</c:v>
                </c:pt>
                <c:pt idx="8">
                  <c:v>Rural</c:v>
                </c:pt>
                <c:pt idx="9">
                  <c:v>Suburban</c:v>
                </c:pt>
                <c:pt idx="10">
                  <c:v>Urban &lt;1M</c:v>
                </c:pt>
                <c:pt idx="11">
                  <c:v>Urban 1M+</c:v>
                </c:pt>
                <c:pt idx="13">
                  <c:v>Boomer +</c:v>
                </c:pt>
                <c:pt idx="14">
                  <c:v>Gen X</c:v>
                </c:pt>
                <c:pt idx="15">
                  <c:v>Millennial</c:v>
                </c:pt>
                <c:pt idx="16">
                  <c:v>Gen Z</c:v>
                </c:pt>
                <c:pt idx="18">
                  <c:v>Women</c:v>
                </c:pt>
                <c:pt idx="19">
                  <c:v>Men</c:v>
                </c:pt>
              </c:strCache>
            </c:strRef>
          </c:cat>
          <c:val>
            <c:numRef>
              <c:f>Sheet1!$B$2:$B$21</c:f>
              <c:numCache>
                <c:formatCode>0%</c:formatCode>
                <c:ptCount val="20"/>
                <c:pt idx="0">
                  <c:v>0.74</c:v>
                </c:pt>
                <c:pt idx="1">
                  <c:v>0.78</c:v>
                </c:pt>
                <c:pt idx="2">
                  <c:v>0.79</c:v>
                </c:pt>
                <c:pt idx="3">
                  <c:v>0.84</c:v>
                </c:pt>
                <c:pt idx="4">
                  <c:v>0.87</c:v>
                </c:pt>
                <c:pt idx="6">
                  <c:v>0.81</c:v>
                </c:pt>
                <c:pt idx="8">
                  <c:v>0.7</c:v>
                </c:pt>
                <c:pt idx="9">
                  <c:v>0.73</c:v>
                </c:pt>
                <c:pt idx="10">
                  <c:v>0.72</c:v>
                </c:pt>
                <c:pt idx="11">
                  <c:v>0.76</c:v>
                </c:pt>
                <c:pt idx="13">
                  <c:v>0.52</c:v>
                </c:pt>
                <c:pt idx="14">
                  <c:v>0.63</c:v>
                </c:pt>
                <c:pt idx="15">
                  <c:v>0.82</c:v>
                </c:pt>
                <c:pt idx="16">
                  <c:v>0.85</c:v>
                </c:pt>
                <c:pt idx="18">
                  <c:v>0.68</c:v>
                </c:pt>
                <c:pt idx="19">
                  <c:v>0.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6BF-4817-BEB6-99F0E199CE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0"/>
        <c:axId val="213047296"/>
        <c:axId val="206826880"/>
      </c:barChart>
      <c:catAx>
        <c:axId val="213047296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06826880"/>
        <c:crosses val="autoZero"/>
        <c:auto val="1"/>
        <c:lblAlgn val="ctr"/>
        <c:lblOffset val="100"/>
        <c:noMultiLvlLbl val="0"/>
      </c:catAx>
      <c:valAx>
        <c:axId val="206826880"/>
        <c:scaling>
          <c:orientation val="minMax"/>
          <c:max val="1"/>
          <c:min val="0"/>
        </c:scaling>
        <c:delete val="1"/>
        <c:axPos val="b"/>
        <c:numFmt formatCode="0%" sourceLinked="1"/>
        <c:majorTickMark val="out"/>
        <c:minorTickMark val="none"/>
        <c:tickLblPos val="nextTo"/>
        <c:crossAx val="21304729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200" b="1" i="0">
          <a:solidFill>
            <a:schemeClr val="tx1"/>
          </a:solidFill>
          <a:latin typeface="Helvetica" pitchFamily="2" charset="0"/>
        </a:defRPr>
      </a:pPr>
      <a:endParaRPr lang="en-US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9703526115165182"/>
          <c:y val="0.10233612202935201"/>
          <c:w val="0.56090077183853726"/>
          <c:h val="0.81826046398026664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Never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signs/video screens</c:v>
                </c:pt>
              </c:strCache>
            </c:strRef>
          </c:cat>
          <c:val>
            <c:numRef>
              <c:f>Sheet1!$B$2</c:f>
              <c:numCache>
                <c:formatCode>0%</c:formatCode>
                <c:ptCount val="1"/>
                <c:pt idx="0">
                  <c:v>0.0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C4D-4CDC-9119-A2D9D9345217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Rarely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signs/video screens</c:v>
                </c:pt>
              </c:strCache>
            </c:strRef>
          </c:cat>
          <c:val>
            <c:numRef>
              <c:f>Sheet1!$C$2</c:f>
              <c:numCache>
                <c:formatCode>0%</c:formatCode>
                <c:ptCount val="1"/>
                <c:pt idx="0">
                  <c:v>0.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EC4D-4CDC-9119-A2D9D9345217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Sometimes</c:v>
                </c:pt>
              </c:strCache>
            </c:strRef>
          </c:tx>
          <c:spPr>
            <a:solidFill>
              <a:schemeClr val="accent1">
                <a:lumMod val="20000"/>
                <a:lumOff val="8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EC4D-4CDC-9119-A2D9D934521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1200" b="1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signs/video screens</c:v>
                </c:pt>
              </c:strCache>
            </c:strRef>
          </c:cat>
          <c:val>
            <c:numRef>
              <c:f>Sheet1!$D$2</c:f>
              <c:numCache>
                <c:formatCode>0%</c:formatCode>
                <c:ptCount val="1"/>
                <c:pt idx="0">
                  <c:v>0.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EC4D-4CDC-9119-A2D9D9345217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Most of the time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signs/video screens</c:v>
                </c:pt>
              </c:strCache>
            </c:strRef>
          </c:cat>
          <c:val>
            <c:numRef>
              <c:f>Sheet1!$E$2</c:f>
              <c:numCache>
                <c:formatCode>0%</c:formatCode>
                <c:ptCount val="1"/>
                <c:pt idx="0">
                  <c:v>0.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EC4D-4CDC-9119-A2D9D9345217}"/>
            </c:ext>
          </c:extLst>
        </c:ser>
        <c:ser>
          <c:idx val="4"/>
          <c:order val="4"/>
          <c:tx>
            <c:strRef>
              <c:f>Sheet1!$F$1</c:f>
              <c:strCache>
                <c:ptCount val="1"/>
                <c:pt idx="0">
                  <c:v>All of the time</c:v>
                </c:pt>
              </c:strCache>
            </c:strRef>
          </c:tx>
          <c:spPr>
            <a:solidFill>
              <a:schemeClr val="accent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Helvetica" panose="020B0604020202020204" pitchFamily="34" charset="0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</c:f>
              <c:strCache>
                <c:ptCount val="1"/>
                <c:pt idx="0">
                  <c:v>Digital signs/video screens</c:v>
                </c:pt>
              </c:strCache>
            </c:strRef>
          </c:cat>
          <c:val>
            <c:numRef>
              <c:f>Sheet1!$F$2</c:f>
              <c:numCache>
                <c:formatCode>0%</c:formatCode>
                <c:ptCount val="1"/>
                <c:pt idx="0">
                  <c:v>0.116203150000000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EC4D-4CDC-9119-A2D9D934521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1858789952"/>
        <c:axId val="1858800768"/>
      </c:barChart>
      <c:catAx>
        <c:axId val="1858789952"/>
        <c:scaling>
          <c:orientation val="maxMin"/>
        </c:scaling>
        <c:delete val="1"/>
        <c:axPos val="b"/>
        <c:numFmt formatCode="General" sourceLinked="1"/>
        <c:majorTickMark val="none"/>
        <c:minorTickMark val="none"/>
        <c:tickLblPos val="nextTo"/>
        <c:crossAx val="1858800768"/>
        <c:crosses val="autoZero"/>
        <c:auto val="1"/>
        <c:lblAlgn val="ctr"/>
        <c:lblOffset val="100"/>
        <c:noMultiLvlLbl val="0"/>
      </c:catAx>
      <c:valAx>
        <c:axId val="1858800768"/>
        <c:scaling>
          <c:orientation val="minMax"/>
          <c:max val="1.1000000000000001"/>
        </c:scaling>
        <c:delete val="1"/>
        <c:axPos val="r"/>
        <c:numFmt formatCode="0%" sourceLinked="1"/>
        <c:majorTickMark val="out"/>
        <c:minorTickMark val="none"/>
        <c:tickLblPos val="nextTo"/>
        <c:crossAx val="185878995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l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000" b="1" i="0" u="none" strike="noStrike" kern="1200" baseline="0">
              <a:solidFill>
                <a:schemeClr val="tx1"/>
              </a:solidFill>
              <a:latin typeface="+mn-lt"/>
              <a:ea typeface="+mn-ea"/>
              <a:cs typeface="Helvetica" panose="020B060402020202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 algn="just">
        <a:defRPr sz="1200" b="1">
          <a:solidFill>
            <a:schemeClr val="tx1"/>
          </a:solidFill>
          <a:latin typeface="+mn-lt"/>
          <a:cs typeface="Helvetica" panose="020B0604020202020204" pitchFamily="34" charset="0"/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01D8B1D-895F-430E-AB51-9E237DC91FDD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528" cy="466514"/>
          </a:xfrm>
          <a:prstGeom prst="rect">
            <a:avLst/>
          </a:prstGeom>
        </p:spPr>
        <p:txBody>
          <a:bodyPr vert="horz" lIns="93186" tIns="46594" rIns="93186" bIns="4659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63B20034-0FCF-4669-8F33-D7F8488FB610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971838" y="0"/>
            <a:ext cx="3038528" cy="466514"/>
          </a:xfrm>
          <a:prstGeom prst="rect">
            <a:avLst/>
          </a:prstGeom>
        </p:spPr>
        <p:txBody>
          <a:bodyPr vert="horz" lIns="93186" tIns="46594" rIns="93186" bIns="46594" rtlCol="0"/>
          <a:lstStyle>
            <a:lvl1pPr algn="r">
              <a:defRPr sz="1200"/>
            </a:lvl1pPr>
          </a:lstStyle>
          <a:p>
            <a:fld id="{779B9E9C-C853-43B9-B397-46FD96CD5DF4}" type="datetimeFigureOut">
              <a:rPr lang="en-US" smtClean="0"/>
              <a:t>5/1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D3FFCC6-256C-4658-955E-E0D0C3F671DE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831476"/>
            <a:ext cx="3038528" cy="466513"/>
          </a:xfrm>
          <a:prstGeom prst="rect">
            <a:avLst/>
          </a:prstGeom>
        </p:spPr>
        <p:txBody>
          <a:bodyPr vert="horz" lIns="93186" tIns="46594" rIns="93186" bIns="4659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6BD5809-4CA7-47A4-89BF-CB2175C21ED5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971838" y="8831476"/>
            <a:ext cx="3038528" cy="466513"/>
          </a:xfrm>
          <a:prstGeom prst="rect">
            <a:avLst/>
          </a:prstGeom>
        </p:spPr>
        <p:txBody>
          <a:bodyPr vert="horz" lIns="93186" tIns="46594" rIns="93186" bIns="46594" rtlCol="0" anchor="b"/>
          <a:lstStyle>
            <a:lvl1pPr algn="r">
              <a:defRPr sz="1200"/>
            </a:lvl1pPr>
          </a:lstStyle>
          <a:p>
            <a:fld id="{AABAE0AD-3190-4611-8ADB-4ED550A51685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36973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528" cy="466514"/>
          </a:xfrm>
          <a:prstGeom prst="rect">
            <a:avLst/>
          </a:prstGeom>
        </p:spPr>
        <p:txBody>
          <a:bodyPr vert="horz" lIns="93186" tIns="46594" rIns="93186" bIns="46594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1838" y="0"/>
            <a:ext cx="3038528" cy="466514"/>
          </a:xfrm>
          <a:prstGeom prst="rect">
            <a:avLst/>
          </a:prstGeom>
        </p:spPr>
        <p:txBody>
          <a:bodyPr vert="horz" lIns="93186" tIns="46594" rIns="93186" bIns="46594" rtlCol="0"/>
          <a:lstStyle>
            <a:lvl1pPr algn="r">
              <a:defRPr sz="1200"/>
            </a:lvl1pPr>
          </a:lstStyle>
          <a:p>
            <a:fld id="{29480BA5-9B40-4451-9B49-3100B45CE3A0}" type="datetimeFigureOut">
              <a:rPr lang="en-US" smtClean="0"/>
              <a:t>5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7550" y="1162050"/>
            <a:ext cx="5576888" cy="31369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86" tIns="46594" rIns="93186" bIns="46594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199" y="4474656"/>
            <a:ext cx="5609590" cy="3661083"/>
          </a:xfrm>
          <a:prstGeom prst="rect">
            <a:avLst/>
          </a:prstGeom>
        </p:spPr>
        <p:txBody>
          <a:bodyPr vert="horz" lIns="93186" tIns="46594" rIns="93186" bIns="4659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31476"/>
            <a:ext cx="3038528" cy="466513"/>
          </a:xfrm>
          <a:prstGeom prst="rect">
            <a:avLst/>
          </a:prstGeom>
        </p:spPr>
        <p:txBody>
          <a:bodyPr vert="horz" lIns="93186" tIns="46594" rIns="93186" bIns="46594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1838" y="8831476"/>
            <a:ext cx="3038528" cy="466513"/>
          </a:xfrm>
          <a:prstGeom prst="rect">
            <a:avLst/>
          </a:prstGeom>
        </p:spPr>
        <p:txBody>
          <a:bodyPr vert="horz" lIns="93186" tIns="46594" rIns="93186" bIns="46594" rtlCol="0" anchor="b"/>
          <a:lstStyle>
            <a:lvl1pPr algn="r">
              <a:defRPr sz="1200"/>
            </a:lvl1pPr>
          </a:lstStyle>
          <a:p>
            <a:fld id="{092F94CB-1083-4FA2-B29E-D7FA47B1A24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5785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664024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281675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139508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53757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2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991214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3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769552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3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41186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92F94CB-1083-4FA2-B29E-D7FA47B1A247}" type="slidenum">
              <a:rPr lang="en-US" smtClean="0"/>
              <a:t>3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069566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1.png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4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8.png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10.png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9.png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4.png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6.png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25.png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0.png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2.png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1.png"/></Relationships>
</file>

<file path=ppt/slideLayouts/_rels/slideLayout1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0.png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2.pn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21.png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8.png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9.png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30.png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29.png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2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2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2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9.xml"/></Relationships>
</file>

<file path=ppt/slideLayouts/_rels/slideLayout27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2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2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9.xml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0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1.png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2.png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21.png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9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3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3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0.xml"/></Relationships>
</file>

<file path=ppt/slideLayouts/_rels/slideLayout3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0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0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0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0.png"/></Relationships>
</file>

<file path=ppt/slideLayouts/_rels/slideLayout31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1.png"/></Relationships>
</file>

<file path=ppt/slideLayouts/_rels/slideLayout31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2.png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21.png"/></Relationships>
</file>

<file path=ppt/slideLayouts/_rels/slideLayout3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0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png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3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1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1.xml"/></Relationships>
</file>

<file path=ppt/slideLayouts/_rels/slideLayout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9.png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0.png"/></Relationships>
</file>

<file path=ppt/slideLayouts/_rels/slideLayout342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1.png"/></Relationships>
</file>

<file path=ppt/slideLayouts/_rels/slideLayout343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2.png"/></Relationships>
</file>

<file path=ppt/slideLayouts/_rels/slideLayout344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21.png"/></Relationships>
</file>

<file path=ppt/slideLayouts/_rels/slideLayout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6" Type="http://schemas.openxmlformats.org/officeDocument/2006/relationships/image" Target="../media/image13.png"/><Relationship Id="rId5" Type="http://schemas.openxmlformats.org/officeDocument/2006/relationships/image" Target="../media/image12.png"/><Relationship Id="rId4" Type="http://schemas.openxmlformats.org/officeDocument/2006/relationships/image" Target="../media/image1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14.png"/><Relationship Id="rId4" Type="http://schemas.openxmlformats.org/officeDocument/2006/relationships/image" Target="../media/image11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2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8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png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png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3.xml"/></Relationships>
</file>

<file path=ppt/slideLayouts/_rels/slideLayout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0.png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1.png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2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0" i="0">
                <a:solidFill>
                  <a:schemeClr val="accent1"/>
                </a:solidFill>
                <a:latin typeface="Helvetica Light" panose="020B0403020202020204" pitchFamily="34" charset="0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Helvetica Light" panose="020B0403020202020204" pitchFamily="34" charset="0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81355045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6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356180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04632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111343" y="356180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111341" y="404632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8045240" y="356180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8045239" y="404632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94952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301922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60308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48876462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76146847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87466330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0" i="0">
                <a:solidFill>
                  <a:schemeClr val="accent1"/>
                </a:solidFill>
                <a:latin typeface="Helvetica Light" panose="020B0403020202020204" pitchFamily="34" charset="0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Helvetica Light" panose="020B0403020202020204" pitchFamily="34" charset="0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80559000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173418112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80155479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602176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77293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804762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1084728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9750101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173378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44060502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7175063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7816992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1821389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639022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182521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6245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141359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841149989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10572049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86902090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1186839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854255605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43981344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90666776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9174781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076797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7666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heade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594485817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2009431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07034047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0248408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83098891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2796062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8203903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68445502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78224075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8759162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02530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413327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555108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1614319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051542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977430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4313729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7018019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9436852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0832883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7340756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251150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15420430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570501275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56719946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382744805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1007984847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73769534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7789579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90588134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839080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232833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617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584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4273239015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591593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2200433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3387096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3261826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07431761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551914122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4197829942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96296048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8432442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2026659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9043514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5492463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89704123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55996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350495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468950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5069633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3747981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045921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96531051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67045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0992800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284045563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4219760456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337903789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23330242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558297082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3903639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1031574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169600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8003594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4196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B42892EE-3238-4E2A-A8DD-A5DDA3DB52A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1275312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9635903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84736575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5254578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2841859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528586035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5830217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8729961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6817377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8889265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812157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0" i="0">
                <a:solidFill>
                  <a:schemeClr val="accent1"/>
                </a:solidFill>
                <a:latin typeface="Helvetica Light" panose="020B0403020202020204" pitchFamily="34" charset="0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 b="0" i="0">
                <a:latin typeface="Helvetica Light" panose="020B0403020202020204" pitchFamily="34" charset="0"/>
              </a:defRPr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 b="0" i="0">
                <a:latin typeface="Helvetica Light" panose="020B0403020202020204" pitchFamily="34" charset="0"/>
              </a:defRPr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 b="0" i="0">
                <a:latin typeface="Helvetica Light" panose="020B0403020202020204" pitchFamily="34" charset="0"/>
              </a:defRPr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 b="0" i="0">
                <a:latin typeface="Helvetica Light" panose="020B0403020202020204" pitchFamily="34" charset="0"/>
              </a:defRPr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 b="0" i="0">
                <a:latin typeface="Helvetica Light" panose="020B0403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95448604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Q5MDciLCJleHAiOiIxNTMyOTk2NTA3IiwiZW5kcG9pbnR1cmwiOiIrN1NNbS9wNUZhdWtzajhNWDVmL2VkTWZqRHBoR21tVXFOUm5CNDMwN3BVPSIsImVuZHBvaW50dXJsTGVuZ3RoIjoiMTI4IiwiaXNsb29wYmFjayI6IlRydWUiLCJjaWQiOiJPVGxsT1RkbU9XVXRNREEyWXkwMk1EQXdMVEUwTWpRdE1XTmlZVGc1WTJVeU1XWXg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VXN4N0xtN25td0I5SERSRERoR2FlbGdNZnhIcWV6dWZQSWRXVWNFZEFwST0&amp;encodeFailures=1&amp;width=1663&amp;height=343&amp;srcWidth=1663&amp;srcHeight=343">
            <a:extLst>
              <a:ext uri="{FF2B5EF4-FFF2-40B4-BE49-F238E27FC236}">
                <a16:creationId xmlns:a16="http://schemas.microsoft.com/office/drawing/2014/main" id="{153AB127-7483-4E95-9267-EB6E53700ED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5" y="462226"/>
            <a:ext cx="3883772" cy="8010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39759547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43952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4652743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305507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305349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6750837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2564650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>
                <a:latin typeface="Helvetica Light" panose="020B0403020202020204"/>
              </a:defRPr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931061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0885677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>
                <a:latin typeface="Helvetica Light" panose="020B0403020202020204"/>
              </a:defRPr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3649992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51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LC Company © 2024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96" y="462225"/>
            <a:ext cx="3954985" cy="8157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176553278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latin typeface="Helvetica Light" panose="020B0403020202020204"/>
              </a:defRPr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649094416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591706953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449994144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50534496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71998097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88910728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5014204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1231057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3102556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463035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LC Company © 2024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4" y="256578"/>
            <a:ext cx="2262131" cy="466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6315445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267078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35395699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676546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0563533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Helvetica Light" panose="020B0403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52585487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Helvetica Light" panose="020B0403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10650830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2F38399-9EC9-3E42-9B4C-C822AD13C1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0" i="0">
                <a:solidFill>
                  <a:schemeClr val="accent1"/>
                </a:solidFill>
                <a:latin typeface="Helvetica Light" panose="020B0403020202020204" pitchFamily="34" charset="0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73171BB8-B730-F040-8469-8A96C470A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BD51A03-9382-EA4D-9C49-96A53B8150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Helvetica Light" panose="020B0403020202020204" pitchFamily="34" charset="0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860014964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00917946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>
                <a:latin typeface="Helvetica Light" panose="020B0403020202020204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111523178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62136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LC Company © 2024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4" y="256578"/>
            <a:ext cx="2262131" cy="4665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845612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888639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8221844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53388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3340288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4263674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27961307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904187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>
                <a:latin typeface="Helvetica Light" panose="020B0403020202020204"/>
              </a:defRPr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0785077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0980292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>
                <a:latin typeface="Helvetica Light" panose="020B0403020202020204"/>
              </a:defRPr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0473889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3" y="462225"/>
            <a:ext cx="3972853" cy="819416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836541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Helvetica Light" panose="020B0403020202020204"/>
                <a:ea typeface="Helvetica Light" panose="020B0403020202020204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  <a:latin typeface="Helvetica Light" panose="020B0403020202020204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  <a:latin typeface="Helvetica Light" panose="020B0403020202020204"/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99423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>
                <a:latin typeface="Helvetica Light" panose="020B0403020202020204"/>
              </a:defRPr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  <a:latin typeface="Helvetica Light" panose="020B0403020202020204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16559074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346244409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711791490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31676020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1154024747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5187384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29067201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  <a:latin typeface="Helvetica Light" panose="020B0403020202020204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>
            <a:lvl1pPr>
              <a:defRPr>
                <a:latin typeface="Helvetica Light" panose="020B0403020202020204"/>
              </a:defRPr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6819664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273754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3" y="462225"/>
            <a:ext cx="3960997" cy="8169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8122470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097780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Helvetica Light" panose="020B0403020202020204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490605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31125839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5979020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9221095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Helvetica Light" panose="020B0403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4016167071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Helvetica Light" panose="020B0403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069764897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3105467924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82691901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695884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3" y="462225"/>
            <a:ext cx="3960997" cy="8169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55425258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5908686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285479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886990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50855824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0016409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48104810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2508590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2204311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7516671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55539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28" y="462225"/>
            <a:ext cx="3954985" cy="8157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231247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6696850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1698771512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293212213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716341588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1149012574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60875795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3970071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818045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0867721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405413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2683" y="338570"/>
            <a:ext cx="6450252" cy="798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2492120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2013446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850401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84324980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1094526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652309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926151049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533464499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2F38399-9EC9-3E42-9B4C-C822AD13C1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0" i="0">
                <a:solidFill>
                  <a:schemeClr val="accent1"/>
                </a:solidFill>
                <a:latin typeface="Helvetica Light" panose="020B0403020202020204" pitchFamily="34" charset="0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73171BB8-B730-F040-8469-8A96C470A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BD51A03-9382-EA4D-9C49-96A53B8150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Helvetica Light" panose="020B0403020202020204" pitchFamily="34" charset="0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1782346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482" y="152400"/>
            <a:ext cx="10887287" cy="1095756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hart Placeholder 2"/>
          <p:cNvSpPr>
            <a:spLocks noGrp="1"/>
          </p:cNvSpPr>
          <p:nvPr>
            <p:ph type="chart" idx="1"/>
          </p:nvPr>
        </p:nvSpPr>
        <p:spPr>
          <a:xfrm>
            <a:off x="792480" y="2020824"/>
            <a:ext cx="10887288" cy="407822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8250725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92224054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1_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509775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LLC Company © 2024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8ADB39A-7A36-3341-82EA-36C2611B8135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2683" y="338570"/>
            <a:ext cx="6450252" cy="7982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39471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25233997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835492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6482277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2770919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3469823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463019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12115120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1342942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91141237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0177359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213340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DFC5EEE-089F-1543-906A-465D212954A8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02684" y="338570"/>
            <a:ext cx="5002485" cy="619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8896008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829020"/>
      </p:ext>
    </p:extLst>
  </p:cSld>
  <p:clrMapOvr>
    <a:masterClrMapping/>
  </p:clrMapOvr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80476048"/>
      </p:ext>
    </p:extLst>
  </p:cSld>
  <p:clrMapOvr>
    <a:masterClrMapping/>
  </p:clrMapOvr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5185817"/>
      </p:ext>
    </p:extLst>
  </p:cSld>
  <p:clrMapOvr>
    <a:masterClrMapping/>
  </p:clrMapOvr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843333870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396186043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09439917"/>
      </p:ext>
    </p:extLst>
  </p:cSld>
  <p:clrMapOvr>
    <a:masterClrMapping/>
  </p:clrMapOvr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244540312"/>
      </p:ext>
    </p:extLst>
  </p:cSld>
  <p:clrMapOvr>
    <a:masterClrMapping/>
  </p:clrMapOvr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4015920494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19471289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860417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8011970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1756143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9463135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1217605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597975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35427749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20974920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5726451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973368894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721843905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62819969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490366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2301471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7909067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1613830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84896611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447107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3081425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329786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7649623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1510496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3931687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437247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906676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6884379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6778984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3672708509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669616695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843939276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998213755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13949061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63500386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7615165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78464698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5605231"/>
      </p:ext>
    </p:extLst>
  </p:cSld>
  <p:clrMapOvr>
    <a:masterClrMapping/>
  </p:clrMapOvr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8847820"/>
      </p:ext>
    </p:extLst>
  </p:cSld>
  <p:clrMapOvr>
    <a:masterClrMapping/>
  </p:clrMapOvr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0759763"/>
      </p:ext>
    </p:extLst>
  </p:cSld>
  <p:clrMapOvr>
    <a:masterClrMapping/>
  </p:clrMapOvr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4075510"/>
      </p:ext>
    </p:extLst>
  </p:cSld>
  <p:clrMapOvr>
    <a:masterClrMapping/>
  </p:clrMapOvr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09190716"/>
      </p:ext>
    </p:extLst>
  </p:cSld>
  <p:clrMapOvr>
    <a:masterClrMapping/>
  </p:clrMapOvr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5436070"/>
      </p:ext>
    </p:extLst>
  </p:cSld>
  <p:clrMapOvr>
    <a:masterClrMapping/>
  </p:clrMapOvr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604127149"/>
      </p:ext>
    </p:extLst>
  </p:cSld>
  <p:clrMapOvr>
    <a:masterClrMapping/>
  </p:clrMapOvr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Logo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6F24A94-8D46-47E3-AAA9-42315977B1D1}"/>
              </a:ext>
            </a:extLst>
          </p:cNvPr>
          <p:cNvSpPr/>
          <p:nvPr userDrawn="1"/>
        </p:nvSpPr>
        <p:spPr>
          <a:xfrm>
            <a:off x="195445" y="83762"/>
            <a:ext cx="11521905" cy="195445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52069164"/>
      </p:ext>
    </p:extLst>
  </p:cSld>
  <p:clrMapOvr>
    <a:masterClrMapping/>
  </p:clrMapOvr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4236540933"/>
      </p:ext>
    </p:extLst>
  </p:cSld>
  <p:clrMapOvr>
    <a:masterClrMapping/>
  </p:clrMapOvr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Text Placeholder 15">
            <a:extLst>
              <a:ext uri="{FF2B5EF4-FFF2-40B4-BE49-F238E27FC236}">
                <a16:creationId xmlns:a16="http://schemas.microsoft.com/office/drawing/2014/main" id="{32F38399-9EC9-3E42-9B4C-C822AD13C1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0" i="0">
                <a:solidFill>
                  <a:schemeClr val="accent1"/>
                </a:solidFill>
                <a:latin typeface="Helvetica Light" panose="020B0403020202020204" pitchFamily="34" charset="0"/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7" name="Title 8">
            <a:extLst>
              <a:ext uri="{FF2B5EF4-FFF2-40B4-BE49-F238E27FC236}">
                <a16:creationId xmlns:a16="http://schemas.microsoft.com/office/drawing/2014/main" id="{73171BB8-B730-F040-8469-8A96C470AB0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0" i="0"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ABD51A03-9382-EA4D-9C49-96A53B81500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 b="0" i="0">
                <a:solidFill>
                  <a:schemeClr val="tx2"/>
                </a:solidFill>
                <a:latin typeface="Helvetica Light" panose="020B0403020202020204" pitchFamily="34" charset="0"/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213840008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LLC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400441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1482411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1028190159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Dark 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40" imgH="541" progId="TCLayout.ActiveDocument.1">
                  <p:embed/>
                </p:oleObj>
              </mc:Choice>
              <mc:Fallback>
                <p:oleObj name="think-cell Slide" r:id="rId3" imgW="540" imgH="541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11916" y="4797429"/>
            <a:ext cx="7315200" cy="665163"/>
          </a:xfrm>
        </p:spPr>
        <p:txBody>
          <a:bodyPr wrap="square" tIns="0" bIns="0"/>
          <a:lstStyle>
            <a:lvl1pPr marL="0" indent="0" algn="l">
              <a:lnSpc>
                <a:spcPct val="100000"/>
              </a:lnSpc>
              <a:buNone/>
              <a:defRPr sz="2000" cap="all" baseline="0">
                <a:solidFill>
                  <a:srgbClr val="FFFFFF"/>
                </a:solidFill>
              </a:defRPr>
            </a:lvl1pPr>
            <a:lvl2pPr marL="4571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5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7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8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24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4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Text Placeholder 2"/>
          <p:cNvSpPr>
            <a:spLocks noGrp="1"/>
          </p:cNvSpPr>
          <p:nvPr>
            <p:ph type="body" idx="17"/>
          </p:nvPr>
        </p:nvSpPr>
        <p:spPr>
          <a:xfrm>
            <a:off x="711921" y="5998465"/>
            <a:ext cx="3854751" cy="697395"/>
          </a:xfrm>
        </p:spPr>
        <p:txBody>
          <a:bodyPr wrap="square" anchor="b" anchorCtr="0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200" b="0">
                <a:solidFill>
                  <a:srgbClr val="FFFFFF"/>
                </a:solidFill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711200" y="3488801"/>
            <a:ext cx="7315917" cy="1310219"/>
          </a:xfrm>
        </p:spPr>
        <p:txBody>
          <a:bodyPr wrap="square" tIns="0" bIns="0">
            <a:noAutofit/>
          </a:bodyPr>
          <a:lstStyle>
            <a:lvl1pPr algn="l">
              <a:lnSpc>
                <a:spcPct val="80000"/>
              </a:lnSpc>
              <a:tabLst>
                <a:tab pos="507974" algn="l"/>
              </a:tabLst>
              <a:defRPr sz="4500" b="0" cap="all" baseline="0">
                <a:solidFill>
                  <a:srgbClr val="009DD9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49" t="7621" b="6640"/>
          <a:stretch/>
        </p:blipFill>
        <p:spPr>
          <a:xfrm flipH="1">
            <a:off x="8610600" y="0"/>
            <a:ext cx="3581400" cy="6858000"/>
          </a:xfrm>
          <a:prstGeom prst="rect">
            <a:avLst/>
          </a:prstGeom>
        </p:spPr>
      </p:pic>
      <p:pic>
        <p:nvPicPr>
          <p:cNvPr id="2052" name="Picture 4" descr="http://www.stagwellgroup.com/wp-content/uploads/2015/10/Harris-Insights-Analytics_logo.png"/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802" y="1295402"/>
            <a:ext cx="2840567" cy="142028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58168567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40" imgH="541" progId="TCLayout.ActiveDocument.1">
                  <p:embed/>
                </p:oleObj>
              </mc:Choice>
              <mc:Fallback>
                <p:oleObj name="think-cell Slide" r:id="rId3" imgW="540" imgH="54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792480" y="676657"/>
            <a:ext cx="10888896" cy="571500"/>
          </a:xfrm>
        </p:spPr>
        <p:txBody>
          <a:bodyPr wrap="square">
            <a:noAutofit/>
          </a:bodyPr>
          <a:lstStyle>
            <a:lvl1pPr>
              <a:defRPr baseline="0">
                <a:solidFill>
                  <a:srgbClr val="8DC6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792480" y="1280161"/>
            <a:ext cx="10880429" cy="31511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792483" y="6373368"/>
            <a:ext cx="10887287" cy="36576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Box 17"/>
          <p:cNvSpPr txBox="1">
            <a:spLocks noChangeArrowheads="1"/>
          </p:cNvSpPr>
          <p:nvPr/>
        </p:nvSpPr>
        <p:spPr bwMode="auto">
          <a:xfrm>
            <a:off x="11860250" y="6600347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algn="ctr" defTabSz="914377">
              <a:spcBef>
                <a:spcPts val="0"/>
              </a:spcBef>
            </a:pPr>
            <a:fld id="{0D7D805D-F6E5-43ED-9D8A-77676030D49C}" type="slidenum">
              <a:rPr lang="en-US" sz="900" b="0">
                <a:solidFill>
                  <a:srgbClr val="8DC63F"/>
                </a:solidFill>
              </a:rPr>
              <a:pPr algn="ctr" defTabSz="914377">
                <a:spcBef>
                  <a:spcPts val="0"/>
                </a:spcBef>
              </a:pPr>
              <a:t>‹#›</a:t>
            </a:fld>
            <a:endParaRPr lang="en-US" sz="900" b="0">
              <a:solidFill>
                <a:srgbClr val="8DC63F"/>
              </a:solidFill>
            </a:endParaRPr>
          </a:p>
        </p:txBody>
      </p:sp>
      <p:sp>
        <p:nvSpPr>
          <p:cNvPr id="10" name="Rectangle 9"/>
          <p:cNvSpPr/>
          <p:nvPr userDrawn="1"/>
        </p:nvSpPr>
        <p:spPr>
          <a:xfrm>
            <a:off x="0" y="0"/>
            <a:ext cx="304800" cy="6858000"/>
          </a:xfrm>
          <a:prstGeom prst="rect">
            <a:avLst/>
          </a:prstGeom>
          <a:solidFill>
            <a:srgbClr val="96C9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601" y="91285"/>
            <a:ext cx="1189039" cy="59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75576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0356858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onl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40" imgH="541" progId="TCLayout.ActiveDocument.1">
                  <p:embed/>
                </p:oleObj>
              </mc:Choice>
              <mc:Fallback>
                <p:oleObj name="think-cell Slide" r:id="rId3" imgW="540" imgH="541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792480" y="676657"/>
            <a:ext cx="10888896" cy="571500"/>
          </a:xfrm>
        </p:spPr>
        <p:txBody>
          <a:bodyPr wrap="square">
            <a:noAutofit/>
          </a:bodyPr>
          <a:lstStyle>
            <a:lvl1pPr>
              <a:defRPr baseline="0">
                <a:solidFill>
                  <a:srgbClr val="8DC63F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idx="13"/>
          </p:nvPr>
        </p:nvSpPr>
        <p:spPr>
          <a:xfrm>
            <a:off x="792480" y="1280161"/>
            <a:ext cx="10880429" cy="315119"/>
          </a:xfrm>
        </p:spPr>
        <p:txBody>
          <a:bodyPr wrap="square" tIns="0" bIns="0" anchor="t" anchorCtr="0"/>
          <a:lstStyle>
            <a:lvl1pPr marL="0" indent="0">
              <a:spcBef>
                <a:spcPts val="0"/>
              </a:spcBef>
              <a:buNone/>
              <a:defRPr sz="1800" b="0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idx="15"/>
          </p:nvPr>
        </p:nvSpPr>
        <p:spPr>
          <a:xfrm>
            <a:off x="792483" y="6373368"/>
            <a:ext cx="10887287" cy="365760"/>
          </a:xfrm>
        </p:spPr>
        <p:txBody>
          <a:bodyPr wrap="square" tIns="0" bIns="0" anchor="b" anchorCtr="0"/>
          <a:lstStyle>
            <a:lvl1pPr marL="0" indent="0">
              <a:spcBef>
                <a:spcPts val="60"/>
              </a:spcBef>
              <a:buNone/>
              <a:defRPr sz="800" b="0" baseline="0">
                <a:solidFill>
                  <a:schemeClr val="tx1"/>
                </a:solidFill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Box 17"/>
          <p:cNvSpPr txBox="1">
            <a:spLocks noChangeArrowheads="1"/>
          </p:cNvSpPr>
          <p:nvPr/>
        </p:nvSpPr>
        <p:spPr bwMode="auto">
          <a:xfrm>
            <a:off x="11860250" y="6600347"/>
            <a:ext cx="141064" cy="1384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ctr" anchorCtr="0">
            <a:spAutoFit/>
          </a:bodyPr>
          <a:lstStyle/>
          <a:p>
            <a:pPr algn="ctr" defTabSz="914377">
              <a:spcBef>
                <a:spcPts val="0"/>
              </a:spcBef>
            </a:pPr>
            <a:fld id="{0D7D805D-F6E5-43ED-9D8A-77676030D49C}" type="slidenum">
              <a:rPr lang="en-US" sz="900" b="0">
                <a:solidFill>
                  <a:srgbClr val="8DC63F"/>
                </a:solidFill>
              </a:rPr>
              <a:pPr algn="ctr" defTabSz="914377">
                <a:spcBef>
                  <a:spcPts val="0"/>
                </a:spcBef>
              </a:pPr>
              <a:t>‹#›</a:t>
            </a:fld>
            <a:endParaRPr lang="en-US" sz="900" b="0">
              <a:solidFill>
                <a:srgbClr val="8DC63F"/>
              </a:solidFill>
            </a:endParaRPr>
          </a:p>
        </p:txBody>
      </p:sp>
      <p:sp>
        <p:nvSpPr>
          <p:cNvPr id="2" name="Rectangle 1"/>
          <p:cNvSpPr/>
          <p:nvPr userDrawn="1"/>
        </p:nvSpPr>
        <p:spPr>
          <a:xfrm>
            <a:off x="0" y="76200"/>
            <a:ext cx="304800" cy="6858000"/>
          </a:xfrm>
          <a:prstGeom prst="rect">
            <a:avLst/>
          </a:prstGeom>
          <a:solidFill>
            <a:srgbClr val="96C94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601" y="91285"/>
            <a:ext cx="1189039" cy="5945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273759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127837070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50" y="1634069"/>
            <a:ext cx="11402836" cy="4129617"/>
          </a:xfrm>
          <a:prstGeom prst="rect">
            <a:avLst/>
          </a:prstGeom>
        </p:spPr>
        <p:txBody>
          <a:bodyPr/>
          <a:lstStyle>
            <a:lvl1pPr marL="307832" indent="-228589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06" indent="-228589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580" indent="-228589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49" indent="-228589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18" indent="-228589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8275559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50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2"/>
            <a:ext cx="11402836" cy="4311237"/>
          </a:xfrm>
          <a:prstGeom prst="rect">
            <a:avLst/>
          </a:prstGeom>
        </p:spPr>
        <p:txBody>
          <a:bodyPr/>
          <a:lstStyle>
            <a:lvl1pPr marL="228589" marR="0" indent="-228589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89" marR="0" lvl="0" indent="-228589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89" marR="0" lvl="0" indent="-228589" algn="l" defTabSz="60957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971068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50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7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166869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208647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8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8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7699891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2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8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49621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50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7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4638643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6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558714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21443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514775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6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356180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8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04632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20" hasCustomPrompt="1"/>
          </p:nvPr>
        </p:nvSpPr>
        <p:spPr>
          <a:xfrm>
            <a:off x="4111343" y="356180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0" name="Text Placeholder 2"/>
          <p:cNvSpPr>
            <a:spLocks noGrp="1"/>
          </p:cNvSpPr>
          <p:nvPr>
            <p:ph type="body" sz="quarter" idx="21"/>
          </p:nvPr>
        </p:nvSpPr>
        <p:spPr>
          <a:xfrm>
            <a:off x="4111341" y="404632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21" name="Text Placeholder 2"/>
          <p:cNvSpPr>
            <a:spLocks noGrp="1"/>
          </p:cNvSpPr>
          <p:nvPr>
            <p:ph type="body" sz="quarter" idx="22" hasCustomPrompt="1"/>
          </p:nvPr>
        </p:nvSpPr>
        <p:spPr>
          <a:xfrm>
            <a:off x="8045240" y="356180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22" name="Text Placeholder 2"/>
          <p:cNvSpPr>
            <a:spLocks noGrp="1"/>
          </p:cNvSpPr>
          <p:nvPr>
            <p:ph type="body" sz="quarter" idx="23"/>
          </p:nvPr>
        </p:nvSpPr>
        <p:spPr>
          <a:xfrm>
            <a:off x="8045239" y="404632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390095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50" y="518161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50" y="951901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2" y="1543052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59883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6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3" y="518586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78448694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2 heade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5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6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242969523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5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6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4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2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6391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5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38778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3" y="518585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:p14="http://schemas.microsoft.com/office/powerpoint/2010/main" val="312144440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3" y="518161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8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400" b="1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6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70" indent="0">
              <a:buNone/>
              <a:defRPr sz="1333">
                <a:solidFill>
                  <a:schemeClr val="tx2"/>
                </a:solidFill>
              </a:defRPr>
            </a:lvl2pPr>
            <a:lvl3pPr marL="1219140" indent="0">
              <a:buNone/>
              <a:defRPr sz="1333">
                <a:solidFill>
                  <a:schemeClr val="tx2"/>
                </a:solidFill>
              </a:defRPr>
            </a:lvl3pPr>
            <a:lvl4pPr marL="1828709" indent="0">
              <a:buNone/>
              <a:defRPr sz="1333">
                <a:solidFill>
                  <a:schemeClr val="tx2"/>
                </a:solidFill>
              </a:defRPr>
            </a:lvl4pPr>
            <a:lvl5pPr marL="2438278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50" indent="-380981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25" indent="-304784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493" indent="-304784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062" indent="-304784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33" algn="l" defTabSz="60957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909751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3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2F7AF7F-F01E-43FE-9E75-45C63413BF5C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11583634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667" b="1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8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3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B42892EE-3238-4E2A-A8DD-A5DDA3DB52A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101733" y="518161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81E2381-33DF-4622-81C6-F627BA7AA37F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1899379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977498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4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6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1766" y="462225"/>
            <a:ext cx="3883772" cy="80104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77EE2114-CD2D-4EF5-9632-9498AC79EAD9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292748032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8697" y="462225"/>
            <a:ext cx="3954985" cy="815731"/>
          </a:xfrm>
          <a:prstGeom prst="rect">
            <a:avLst/>
          </a:prstGeom>
        </p:spPr>
      </p:pic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4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6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E1A1482-F653-4FE6-B37E-ED953E526C3E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94781407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1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3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5" y="256579"/>
            <a:ext cx="2262131" cy="466572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49E465C9-2573-4401-B8C2-F58E015C7997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501001549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1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3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5" y="256579"/>
            <a:ext cx="2262131" cy="466573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DBA55857-F64E-40C7-8FD4-429FFA9657CD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92279629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2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80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4" y="462225"/>
            <a:ext cx="3972853" cy="819416"/>
          </a:xfrm>
          <a:prstGeom prst="rect">
            <a:avLst/>
          </a:prstGeom>
        </p:spPr>
      </p:pic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0DD39BD-A0F1-4EB3-A85F-AEC9D2FE760F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353380626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4" y="462225"/>
            <a:ext cx="3960997" cy="8169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2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80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3F74FB1-5B09-46F4-A296-1E7EF94C24F2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60609393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2684" y="462225"/>
            <a:ext cx="3960997" cy="8169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2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80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61775D4-12E9-4EAF-B059-2D8C5853F4AA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199733124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4529" y="462225"/>
            <a:ext cx="3954985" cy="81573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2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80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70" indent="0" algn="ctr">
              <a:buNone/>
              <a:defRPr sz="2667"/>
            </a:lvl2pPr>
            <a:lvl3pPr marL="1219140" indent="0" algn="ctr">
              <a:buNone/>
              <a:defRPr sz="2400"/>
            </a:lvl3pPr>
            <a:lvl4pPr marL="1828709" indent="0" algn="ctr">
              <a:buNone/>
              <a:defRPr sz="2133"/>
            </a:lvl4pPr>
            <a:lvl5pPr marL="2438278" indent="0" algn="ctr">
              <a:buNone/>
              <a:defRPr sz="2133"/>
            </a:lvl5pPr>
            <a:lvl6pPr marL="3047848" indent="0" algn="ctr">
              <a:buNone/>
              <a:defRPr sz="2133"/>
            </a:lvl6pPr>
            <a:lvl7pPr marL="3657418" indent="0" algn="ctr">
              <a:buNone/>
              <a:defRPr sz="2133"/>
            </a:lvl7pPr>
            <a:lvl8pPr marL="4266987" indent="0" algn="ctr">
              <a:buNone/>
              <a:defRPr sz="2133"/>
            </a:lvl8pPr>
            <a:lvl9pPr marL="4876557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A1F387D-7D8F-4B87-B6AC-FB8B8C1A7FD7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3195786028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409308" y="6313587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4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4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2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3" y="317501"/>
            <a:ext cx="300611" cy="3048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30C40346-66DB-41CC-90DA-3697300682E7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291989551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4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8" y="6313587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4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4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4" y="129724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D2BDFCE-6EEC-42EA-8667-5499150C827D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26889553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35209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/>
          <p:cNvSpPr txBox="1"/>
          <p:nvPr userDrawn="1"/>
        </p:nvSpPr>
        <p:spPr>
          <a:xfrm>
            <a:off x="11409308" y="6313587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4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4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4" y="311152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3" y="311151"/>
            <a:ext cx="300611" cy="304800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AEC99A6-A586-4304-9624-DCFDB1DCD9DC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1708018783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Green blan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4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8" y="6313587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4" y="311151"/>
            <a:ext cx="295705" cy="304800"/>
          </a:xfrm>
          <a:prstGeom prst="rect">
            <a:avLst/>
          </a:prstGeom>
        </p:spPr>
      </p:pic>
      <p:sp>
        <p:nvSpPr>
          <p:cNvPr id="3" name="Rectangle 2"/>
          <p:cNvSpPr/>
          <p:nvPr userDrawn="1"/>
        </p:nvSpPr>
        <p:spPr>
          <a:xfrm>
            <a:off x="11562744" y="129724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0" y="311152"/>
            <a:ext cx="300611" cy="304800"/>
          </a:xfrm>
          <a:prstGeom prst="rect">
            <a:avLst/>
          </a:prstGeom>
        </p:spPr>
      </p:pic>
      <p:cxnSp>
        <p:nvCxnSpPr>
          <p:cNvPr id="10" name="Straight Connector 9"/>
          <p:cNvCxnSpPr/>
          <p:nvPr userDrawn="1"/>
        </p:nvCxnSpPr>
        <p:spPr>
          <a:xfrm>
            <a:off x="308397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3F462253-758A-4E97-B17A-A967968FD23E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408757760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range blank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11586634" y="311152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8" y="6313587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308397" y="198255"/>
            <a:ext cx="11278239" cy="0"/>
          </a:xfrm>
          <a:prstGeom prst="line">
            <a:avLst/>
          </a:prstGeom>
          <a:ln w="6350" cmpd="sng"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81" y="311152"/>
            <a:ext cx="300611" cy="304800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9781A38-1178-4796-B99E-AD144FD554C9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3049020192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go with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2262289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E045252-E849-4101-AD64-959B9B45C6F0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57D7459-0C31-4542-A3F0-E8B1A5DAB05D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14922276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</p:spTree>
    <p:extLst>
      <p:ext uri="{BB962C8B-B14F-4D97-AF65-F5344CB8AC3E}">
        <p14:creationId xmlns:p14="http://schemas.microsoft.com/office/powerpoint/2010/main" val="224124909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177449" y="1634068"/>
            <a:ext cx="11402836" cy="4129617"/>
          </a:xfrm>
          <a:prstGeom prst="rect">
            <a:avLst/>
          </a:prstGeom>
        </p:spPr>
        <p:txBody>
          <a:bodyPr/>
          <a:lstStyle>
            <a:lvl1pPr marL="307840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1pPr>
            <a:lvl2pPr marL="841227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2pPr>
            <a:lvl3pPr marL="1374614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3pPr>
            <a:lvl4pPr marL="1984198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4pPr>
            <a:lvl5pPr marL="2593783" indent="-228594">
              <a:lnSpc>
                <a:spcPct val="120000"/>
              </a:lnSpc>
              <a:spcBef>
                <a:spcPts val="0"/>
              </a:spcBef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623060725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py w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603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91"/>
            <a:ext cx="11402836" cy="4311237"/>
          </a:xfrm>
          <a:prstGeom prst="rect">
            <a:avLst/>
          </a:prstGeom>
        </p:spPr>
        <p:txBody>
          <a:bodyPr/>
          <a:lstStyle>
            <a:lvl1pPr marL="228594" marR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228594" marR="0" lvl="0" indent="-228594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111041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166135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797076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3308649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4 copy blocks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6073505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6073504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6073504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6073503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3069554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opy blocks + 1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/>
          <p:cNvSpPr>
            <a:spLocks noGrp="1"/>
          </p:cNvSpPr>
          <p:nvPr>
            <p:ph type="pic" sz="quarter" idx="18"/>
          </p:nvPr>
        </p:nvSpPr>
        <p:spPr>
          <a:xfrm>
            <a:off x="6076951" y="1634067"/>
            <a:ext cx="5503333" cy="4900084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8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1185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34433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82885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8749560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9" y="163406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7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177447" y="3161747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177446" y="3646269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6" y="4638642"/>
            <a:ext cx="11402836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5" y="5123164"/>
            <a:ext cx="11402836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26994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07123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000" b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77801" y="1543051"/>
            <a:ext cx="11402484" cy="4857749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1110276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85856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6051552" y="518585"/>
            <a:ext cx="5538193" cy="6106225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 baseline="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44742372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2 header + copy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6083300" y="518584"/>
            <a:ext cx="5486400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48768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5486400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5486400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015073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8" y="2499595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1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177447" y="3482867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2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177447" y="3967389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7" y="4961201"/>
            <a:ext cx="548640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5445723"/>
            <a:ext cx="5486400" cy="9144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988334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/3 header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  <a:br>
              <a:rPr lang="en-US"/>
            </a:br>
            <a:endParaRPr lang="en-US"/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4"/>
            <a:ext cx="3560064" cy="750539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5"/>
          </p:nvPr>
        </p:nvSpPr>
        <p:spPr>
          <a:xfrm>
            <a:off x="4102100" y="518584"/>
            <a:ext cx="7467600" cy="6129867"/>
          </a:xfrm>
          <a:prstGeom prst="rect">
            <a:avLst/>
          </a:prstGeom>
        </p:spPr>
        <p:txBody>
          <a:bodyPr/>
          <a:lstStyle>
            <a:lvl1pPr>
              <a:buClr>
                <a:schemeClr val="accent1"/>
              </a:buClr>
              <a:defRPr sz="1400"/>
            </a:lvl1pPr>
            <a:lvl2pPr>
              <a:buClr>
                <a:schemeClr val="accent1"/>
              </a:buClr>
              <a:defRPr sz="1400"/>
            </a:lvl2pPr>
            <a:lvl3pPr>
              <a:buClr>
                <a:schemeClr val="accent1"/>
              </a:buClr>
              <a:defRPr sz="1400"/>
            </a:lvl3pPr>
            <a:lvl4pPr>
              <a:buClr>
                <a:schemeClr val="accent1"/>
              </a:buClr>
              <a:defRPr sz="1400"/>
            </a:lvl4pPr>
            <a:lvl5pPr>
              <a:buClr>
                <a:schemeClr val="accent1"/>
              </a:buCl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2742270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1/3 header + photo +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/>
          <p:cNvSpPr>
            <a:spLocks noGrp="1"/>
          </p:cNvSpPr>
          <p:nvPr>
            <p:ph type="pic" sz="quarter" idx="14"/>
          </p:nvPr>
        </p:nvSpPr>
        <p:spPr>
          <a:xfrm>
            <a:off x="4101732" y="518160"/>
            <a:ext cx="7467969" cy="612986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2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5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3" name="Title 8"/>
          <p:cNvSpPr>
            <a:spLocks noGrp="1"/>
          </p:cNvSpPr>
          <p:nvPr>
            <p:ph type="title" hasCustomPrompt="1"/>
          </p:nvPr>
        </p:nvSpPr>
        <p:spPr>
          <a:xfrm>
            <a:off x="177448" y="518160"/>
            <a:ext cx="3560064" cy="814744"/>
          </a:xfrm>
          <a:prstGeom prst="rect">
            <a:avLst/>
          </a:prstGeom>
        </p:spPr>
        <p:txBody>
          <a:bodyPr/>
          <a:lstStyle>
            <a:lvl1pPr>
              <a:defRPr sz="2000" b="0" baseline="0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4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8" y="1332905"/>
            <a:ext cx="3560064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2110323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594845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8" hasCustomPrompt="1"/>
          </p:nvPr>
        </p:nvSpPr>
        <p:spPr>
          <a:xfrm>
            <a:off x="177448" y="4038059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0" name="Text Placeholder 2"/>
          <p:cNvSpPr>
            <a:spLocks noGrp="1"/>
          </p:cNvSpPr>
          <p:nvPr>
            <p:ph type="body" sz="quarter" idx="19"/>
          </p:nvPr>
        </p:nvSpPr>
        <p:spPr>
          <a:xfrm>
            <a:off x="177447" y="4522581"/>
            <a:ext cx="3535680" cy="1219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071532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ase Stud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0" y="-1"/>
            <a:ext cx="3904341" cy="6858001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7" y="703892"/>
            <a:ext cx="3218895" cy="1219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 b="0"/>
            </a:lvl1pPr>
          </a:lstStyle>
          <a:p>
            <a:pPr lvl="0"/>
            <a:r>
              <a:rPr lang="en-US"/>
              <a:t>CASE STUDY TITLE</a:t>
            </a:r>
          </a:p>
        </p:txBody>
      </p:sp>
      <p:sp>
        <p:nvSpPr>
          <p:cNvPr id="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36576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14" name="Rectangle 13"/>
          <p:cNvSpPr/>
          <p:nvPr userDrawn="1"/>
        </p:nvSpPr>
        <p:spPr>
          <a:xfrm>
            <a:off x="3904342" y="0"/>
            <a:ext cx="177447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81276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3200" b="1" i="0" u="none" strike="noStrike" kern="1200" cap="none" spc="0" normalizeH="0" baseline="0" noProof="0">
              <a:ln>
                <a:noFill/>
              </a:ln>
              <a:solidFill>
                <a:srgbClr val="F7946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TextBox 18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1491629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3 copy blocks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/>
          <p:cNvSpPr>
            <a:spLocks noGrp="1"/>
          </p:cNvSpPr>
          <p:nvPr>
            <p:ph type="body" sz="quarter" idx="11" hasCustomPrompt="1"/>
          </p:nvPr>
        </p:nvSpPr>
        <p:spPr>
          <a:xfrm>
            <a:off x="177447" y="265587"/>
            <a:ext cx="6096000" cy="252573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067" b="1">
                <a:solidFill>
                  <a:schemeClr val="accent1"/>
                </a:solidFill>
              </a:defRPr>
            </a:lvl1pPr>
            <a:lvl2pPr>
              <a:defRPr sz="1067" b="1">
                <a:solidFill>
                  <a:schemeClr val="accent1"/>
                </a:solidFill>
              </a:defRPr>
            </a:lvl2pPr>
            <a:lvl3pPr>
              <a:defRPr sz="1067" b="1">
                <a:solidFill>
                  <a:schemeClr val="accent1"/>
                </a:solidFill>
              </a:defRPr>
            </a:lvl3pPr>
            <a:lvl4pPr>
              <a:defRPr sz="1067" b="1">
                <a:solidFill>
                  <a:schemeClr val="accent1"/>
                </a:solidFill>
              </a:defRPr>
            </a:lvl4pPr>
            <a:lvl5pPr>
              <a:defRPr sz="1067" b="1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ECTION TITLE</a:t>
            </a:r>
          </a:p>
        </p:txBody>
      </p:sp>
      <p:sp>
        <p:nvSpPr>
          <p:cNvPr id="9" name="Title 8"/>
          <p:cNvSpPr>
            <a:spLocks noGrp="1"/>
          </p:cNvSpPr>
          <p:nvPr>
            <p:ph type="title" hasCustomPrompt="1"/>
          </p:nvPr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>
              <a:defRPr sz="2400" b="1"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Title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177449" y="951900"/>
            <a:ext cx="11403471" cy="37813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400">
                <a:solidFill>
                  <a:schemeClr val="tx2"/>
                </a:solidFill>
              </a:defRPr>
            </a:lvl1pPr>
            <a:lvl2pPr marL="609585" indent="0">
              <a:buNone/>
              <a:defRPr sz="1333">
                <a:solidFill>
                  <a:schemeClr val="tx2"/>
                </a:solidFill>
              </a:defRPr>
            </a:lvl2pPr>
            <a:lvl3pPr marL="1219170" indent="0">
              <a:buNone/>
              <a:defRPr sz="1333">
                <a:solidFill>
                  <a:schemeClr val="tx2"/>
                </a:solidFill>
              </a:defRPr>
            </a:lvl3pPr>
            <a:lvl4pPr marL="1828754" indent="0">
              <a:buNone/>
              <a:defRPr sz="1333">
                <a:solidFill>
                  <a:schemeClr val="tx2"/>
                </a:solidFill>
              </a:defRPr>
            </a:lvl4pPr>
            <a:lvl5pPr marL="2438339" indent="0">
              <a:buNone/>
              <a:defRPr sz="1333"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177448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77447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3" name="Text Placeholder 2"/>
          <p:cNvSpPr>
            <a:spLocks noGrp="1"/>
          </p:cNvSpPr>
          <p:nvPr>
            <p:ph type="body" sz="quarter" idx="14" hasCustomPrompt="1"/>
          </p:nvPr>
        </p:nvSpPr>
        <p:spPr>
          <a:xfrm>
            <a:off x="4111343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4" name="Text Placeholder 2"/>
          <p:cNvSpPr>
            <a:spLocks noGrp="1"/>
          </p:cNvSpPr>
          <p:nvPr>
            <p:ph type="body" sz="quarter" idx="15"/>
          </p:nvPr>
        </p:nvSpPr>
        <p:spPr>
          <a:xfrm>
            <a:off x="4111341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  <p:sp>
        <p:nvSpPr>
          <p:cNvPr id="15" name="Text Placeholder 2"/>
          <p:cNvSpPr>
            <a:spLocks noGrp="1"/>
          </p:cNvSpPr>
          <p:nvPr>
            <p:ph type="body" sz="quarter" idx="16" hasCustomPrompt="1"/>
          </p:nvPr>
        </p:nvSpPr>
        <p:spPr>
          <a:xfrm>
            <a:off x="8045240" y="1634067"/>
            <a:ext cx="3535680" cy="360988"/>
          </a:xfrm>
          <a:prstGeom prst="rect">
            <a:avLst/>
          </a:prstGeom>
        </p:spPr>
        <p:txBody>
          <a:bodyPr/>
          <a:lstStyle>
            <a:lvl1pPr marL="0" indent="0">
              <a:buClr>
                <a:schemeClr val="accent1"/>
              </a:buClr>
              <a:buFont typeface="Arial" charset="0"/>
              <a:buNone/>
              <a:defRPr sz="1400" b="1">
                <a:solidFill>
                  <a:schemeClr val="accent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</a:t>
            </a:r>
          </a:p>
        </p:txBody>
      </p:sp>
      <p:sp>
        <p:nvSpPr>
          <p:cNvPr id="17" name="Text Placeholder 2"/>
          <p:cNvSpPr>
            <a:spLocks noGrp="1"/>
          </p:cNvSpPr>
          <p:nvPr>
            <p:ph type="body" sz="quarter" idx="17"/>
          </p:nvPr>
        </p:nvSpPr>
        <p:spPr>
          <a:xfrm>
            <a:off x="8045239" y="2118589"/>
            <a:ext cx="3535680" cy="4267200"/>
          </a:xfrm>
          <a:prstGeom prst="rect">
            <a:avLst/>
          </a:prstGeom>
        </p:spPr>
        <p:txBody>
          <a:bodyPr/>
          <a:lstStyle>
            <a:lvl1pPr marL="0" marR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 sz="1400" b="0">
                <a:solidFill>
                  <a:schemeClr val="tx1"/>
                </a:solidFill>
              </a:defRPr>
            </a:lvl1pPr>
            <a:lvl2pPr marL="990575" indent="-380990">
              <a:buClr>
                <a:schemeClr val="accent1"/>
              </a:buClr>
              <a:buFont typeface="Arial" charset="0"/>
              <a:buChar char="•"/>
              <a:defRPr sz="1400"/>
            </a:lvl2pPr>
            <a:lvl3pPr marL="1523962" indent="-304792">
              <a:buClr>
                <a:schemeClr val="accent1"/>
              </a:buClr>
              <a:buFont typeface="Arial" charset="0"/>
              <a:buChar char="•"/>
              <a:defRPr sz="1400"/>
            </a:lvl3pPr>
            <a:lvl4pPr marL="2133547" indent="-304792">
              <a:buClr>
                <a:schemeClr val="accent1"/>
              </a:buClr>
              <a:buFont typeface="Arial" charset="0"/>
              <a:buChar char="•"/>
              <a:defRPr sz="1400"/>
            </a:lvl4pPr>
            <a:lvl5pPr marL="2743131" indent="-304792">
              <a:buClr>
                <a:schemeClr val="accent1"/>
              </a:buClr>
              <a:buFont typeface="Arial" charset="0"/>
              <a:buChar char="•"/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marL="0" marR="0" lvl="0" indent="-377943" algn="l" defTabSz="609585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Tx/>
              <a:buFont typeface="Arial" charset="0"/>
              <a:buChar char="•"/>
              <a:tabLst/>
              <a:defRPr/>
            </a:pPr>
            <a:r>
              <a:rPr lang="en-US"/>
              <a:t>Click to edit Master text styles</a:t>
            </a:r>
          </a:p>
          <a:p>
            <a:pPr lvl="0"/>
            <a:endParaRPr lang="en-US"/>
          </a:p>
          <a:p>
            <a:pPr lvl="0"/>
            <a:endParaRPr lang="en-US"/>
          </a:p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604086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42F7A1D3-0444-49DD-BE71-61E0CFD099E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790503446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Harris Poll Logo Lockup Descriptor-primary-white.png">
            <a:extLst>
              <a:ext uri="{FF2B5EF4-FFF2-40B4-BE49-F238E27FC236}">
                <a16:creationId xmlns:a16="http://schemas.microsoft.com/office/drawing/2014/main" id="{DF89AB61-3578-44DB-9961-3E94119FD181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276999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600" b="0" i="0" u="none" strike="noStrike" kern="1200" cap="none" spc="0" normalizeH="0" baseline="0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137782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337934"/>
            <a:ext cx="91440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733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</p:spTree>
    <p:extLst>
      <p:ext uri="{BB962C8B-B14F-4D97-AF65-F5344CB8AC3E}">
        <p14:creationId xmlns:p14="http://schemas.microsoft.com/office/powerpoint/2010/main" val="2394174802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White_Al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B8906F2C-D2B1-455D-AF8D-D98414398110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87099" y="256578"/>
            <a:ext cx="2262131" cy="4676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45395675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_Black_Alt 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Harris Poll Logo Lockup Descriptor-primary-white.png">
            <a:extLst>
              <a:ext uri="{FF2B5EF4-FFF2-40B4-BE49-F238E27FC236}">
                <a16:creationId xmlns:a16="http://schemas.microsoft.com/office/drawing/2014/main" id="{D4113F94-8EDB-4987-A5F6-F4C3F05D16D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5920" y="256578"/>
            <a:ext cx="2262173" cy="4665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287099" y="1114360"/>
            <a:ext cx="9144000" cy="1005417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87099" y="5714082"/>
            <a:ext cx="9144000" cy="752820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1867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Client</a:t>
            </a:r>
          </a:p>
          <a:p>
            <a:r>
              <a:rPr lang="en-US"/>
              <a:t>Dat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</p:spTree>
    <p:extLst>
      <p:ext uri="{BB962C8B-B14F-4D97-AF65-F5344CB8AC3E}">
        <p14:creationId xmlns:p14="http://schemas.microsoft.com/office/powerpoint/2010/main" val="236267650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b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spcBef>
                <a:spcPts val="0"/>
              </a:spcBef>
              <a:buNone/>
              <a:defRPr sz="5600">
                <a:solidFill>
                  <a:schemeClr val="tx1"/>
                </a:solidFill>
                <a:latin typeface="+mn-lt"/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9" name="Picture 2" descr="https://eastus21-mediap.svc.ms/transform/thumbnail?provider=spo&amp;inputFormat=png&amp;cs=fFNQTw&amp;docid=https%3A%2F%2Fharrisinsightsdomains.sharepoint.com%3A443%2F_api%2Fv2.0%2Fdrives%2Fb!aWoRuWccekOZlon-dd-Bbdy2cRZz0otLsTPgyZxMzLoYvbt1o5L_QpdUP1h3TSe2%2Fitems%2F01PEI6KJLXUBBRMFVY45BZJON5IOTPTKMF%3Fversion%3DPublished&amp;access_token=eyJ0eXAiOiJKV1QiLCJhbGciOiJub25lIn0.eyJhdWQiOiIwMDAwMDAwMy0wMDAwLTBmZjEtY2UwMC0wMDAwMDAwMDAwMDAvaGFycmlzaW5zaWdodHNkb21haW5zLnNoYXJlcG9pbnQuY29tQDQ1ZDFjM2M3LTMwYmEtNGI2Ni1iNzYyLTE1Njc2NmIzNmEwYyIsImlzcyI6IjAwMDAwMDAzLTAwMDAtMGZmMS1jZTAwLTAwMDAwMDAwMDAwMCIsIm5iZiI6IjE1MzI5NzU1MjUiLCJleHAiOiIxNTMyOTk3MTI1IiwiZW5kcG9pbnR1cmwiOiIrN1NNbS9wNUZhdWtzajhNWDVmL2VkTWZqRHBoR21tVXFOUm5CNDMwN3BVPSIsImVuZHBvaW50dXJsTGVuZ3RoIjoiMTI4IiwiaXNsb29wYmFjayI6IlRydWUiLCJjaWQiOiJNekJsWVRkbU9XVXRZekF5TWkwMk1EQXdMVEV4TWpjdFpUVXlNVEk0TkRZME9XRTQiLCJ2ZXIiOiJoYXNoZWRwcm9vZnRva2VuIiwic2l0ZWlkIjoiWWpreE1UWmhOamt0TVdNMk55MDBNemRoTFRrNU9UWXRPRGxtWlRjMVpHWTRNVFprIiwic2lnbmluX3N0YXRlIjoiW1wia21zaVwiXSIsIm5hbWVpZCI6IjAjLmZ8bWVtYmVyc2hpcHxjb3VydG5leS5wcnVuY2hha0BoYXJyaXNpbnNpZ2h0cy5jb20iLCJuaWkiOiJtaWNyb3NvZnQuc2hhcmVwb2ludCIsImlzdXNlciI6InRydWUiLCJjYWNoZWtleSI6IjBoLmZ8bWVtYmVyc2hpcHwxMDAzM2ZmZmE0NjE3YzJkQGxpdmUuY29tIiwidHQiOiIwIiwidXNlUGVyc2lzdGVudENvb2tpZSI6IjMifQ.bHZ4K05YY3BldFlma0kxUkwySGdsb0ZYSjZRR3k1dTVKWlBubU1yOVZqQT0&amp;encodeFailures=1&amp;width=416&amp;height=86&amp;srcWidth=1663&amp;srcHeight=343">
            <a:extLst>
              <a:ext uri="{FF2B5EF4-FFF2-40B4-BE49-F238E27FC236}">
                <a16:creationId xmlns:a16="http://schemas.microsoft.com/office/drawing/2014/main" id="{043FAF15-4044-49C9-8FF3-1E2B6C997D2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1764" y="462225"/>
            <a:ext cx="3874811" cy="8010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78136642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ide_Picture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accent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bg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pic>
        <p:nvPicPr>
          <p:cNvPr id="8" name="Picture 2" descr="Harris Poll Logo Lockup Descriptor-primary-white.png">
            <a:extLst>
              <a:ext uri="{FF2B5EF4-FFF2-40B4-BE49-F238E27FC236}">
                <a16:creationId xmlns:a16="http://schemas.microsoft.com/office/drawing/2014/main" id="{6C49EE50-885A-4F38-8284-705AAC3A1E75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5" y="448177"/>
            <a:ext cx="3955057" cy="8157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5990504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_Picture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 descr="Harris Poll Logo Lockup Descriptor-white-green.png">
            <a:extLst>
              <a:ext uri="{FF2B5EF4-FFF2-40B4-BE49-F238E27FC236}">
                <a16:creationId xmlns:a16="http://schemas.microsoft.com/office/drawing/2014/main" id="{AA7769A7-EEB6-44A8-9F4E-B56F8DD93C6E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2683" y="462227"/>
            <a:ext cx="3961069" cy="8169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2683" y="1879601"/>
            <a:ext cx="5486400" cy="1627943"/>
          </a:xfrm>
          <a:prstGeom prst="rect">
            <a:avLst/>
          </a:prstGeom>
        </p:spPr>
        <p:txBody>
          <a:bodyPr anchor="t"/>
          <a:lstStyle>
            <a:lvl1pPr algn="l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Presentation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02683" y="3702278"/>
            <a:ext cx="5486400" cy="165523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5600">
                <a:solidFill>
                  <a:schemeClr val="tx1"/>
                </a:solidFill>
              </a:defRPr>
            </a:lvl1pPr>
            <a:lvl2pPr marL="609585" indent="0" algn="ctr">
              <a:buNone/>
              <a:defRPr sz="2667"/>
            </a:lvl2pPr>
            <a:lvl3pPr marL="1219170" indent="0" algn="ctr">
              <a:buNone/>
              <a:defRPr sz="2400"/>
            </a:lvl3pPr>
            <a:lvl4pPr marL="1828754" indent="0" algn="ctr">
              <a:buNone/>
              <a:defRPr sz="2133"/>
            </a:lvl4pPr>
            <a:lvl5pPr marL="2438339" indent="0" algn="ctr">
              <a:buNone/>
              <a:defRPr sz="2133"/>
            </a:lvl5pPr>
            <a:lvl6pPr marL="3047924" indent="0" algn="ctr">
              <a:buNone/>
              <a:defRPr sz="2133"/>
            </a:lvl6pPr>
            <a:lvl7pPr marL="3657509" indent="0" algn="ctr">
              <a:buNone/>
              <a:defRPr sz="2133"/>
            </a:lvl7pPr>
            <a:lvl8pPr marL="4267093" indent="0" algn="ctr">
              <a:buNone/>
              <a:defRPr sz="2133"/>
            </a:lvl8pPr>
            <a:lvl9pPr marL="4876678" indent="0" algn="ctr">
              <a:buNone/>
              <a:defRPr sz="2133"/>
            </a:lvl9pPr>
          </a:lstStyle>
          <a:p>
            <a:r>
              <a:rPr lang="en-US"/>
              <a:t>Presentation Subtitle</a:t>
            </a: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3" y="6642556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5" name="Picture Placeholder 4"/>
          <p:cNvSpPr>
            <a:spLocks noGrp="1"/>
          </p:cNvSpPr>
          <p:nvPr>
            <p:ph type="pic" sz="quarter" idx="10"/>
          </p:nvPr>
        </p:nvSpPr>
        <p:spPr>
          <a:xfrm>
            <a:off x="6578600" y="0"/>
            <a:ext cx="56134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359562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Black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405281" y="107951"/>
            <a:ext cx="653143" cy="7112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750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28790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Gree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11423225" y="2821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3" name="Rectangle 2"/>
          <p:cNvSpPr/>
          <p:nvPr userDrawn="1"/>
        </p:nvSpPr>
        <p:spPr>
          <a:xfrm>
            <a:off x="11562743" y="129722"/>
            <a:ext cx="607483" cy="667657"/>
          </a:xfrm>
          <a:prstGeom prst="rect">
            <a:avLst/>
          </a:prstGeom>
          <a:solidFill>
            <a:schemeClr val="accent1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16179" y="311152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329554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_Orang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Company © 2024</a:t>
            </a:r>
          </a:p>
        </p:txBody>
      </p:sp>
      <p:sp>
        <p:nvSpPr>
          <p:cNvPr id="6" name="TextBox 5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pic>
        <p:nvPicPr>
          <p:cNvPr id="11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2" r:link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1502228" y="2926293"/>
            <a:ext cx="9187544" cy="1005417"/>
          </a:xfrm>
          <a:prstGeom prst="rect">
            <a:avLst/>
          </a:prstGeom>
        </p:spPr>
        <p:txBody>
          <a:bodyPr anchor="b"/>
          <a:lstStyle>
            <a:lvl1pPr algn="ctr">
              <a:defRPr sz="5600" b="1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/>
              <a:t>Section Divider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11586633" y="311151"/>
            <a:ext cx="595161" cy="458107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731852" y="311151"/>
            <a:ext cx="300611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0287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png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file://localhost/Users/Houman/Dropbox%20(ETC)/the%20harris%20poll/Design/Final/PPT/assets/logo.png" TargetMode="Externa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1.xml"/><Relationship Id="rId18" Type="http://schemas.openxmlformats.org/officeDocument/2006/relationships/slideLayout" Target="../slideLayouts/slideLayout306.xml"/><Relationship Id="rId26" Type="http://schemas.openxmlformats.org/officeDocument/2006/relationships/slideLayout" Target="../slideLayouts/slideLayout314.xml"/><Relationship Id="rId3" Type="http://schemas.openxmlformats.org/officeDocument/2006/relationships/slideLayout" Target="../slideLayouts/slideLayout291.xml"/><Relationship Id="rId21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295.xml"/><Relationship Id="rId12" Type="http://schemas.openxmlformats.org/officeDocument/2006/relationships/slideLayout" Target="../slideLayouts/slideLayout300.xml"/><Relationship Id="rId17" Type="http://schemas.openxmlformats.org/officeDocument/2006/relationships/slideLayout" Target="../slideLayouts/slideLayout305.xml"/><Relationship Id="rId25" Type="http://schemas.openxmlformats.org/officeDocument/2006/relationships/slideLayout" Target="../slideLayouts/slideLayout313.xml"/><Relationship Id="rId3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slideLayout" Target="../slideLayouts/slideLayout290.xml"/><Relationship Id="rId16" Type="http://schemas.openxmlformats.org/officeDocument/2006/relationships/slideLayout" Target="../slideLayouts/slideLayout304.xml"/><Relationship Id="rId20" Type="http://schemas.openxmlformats.org/officeDocument/2006/relationships/slideLayout" Target="../slideLayouts/slideLayout308.xml"/><Relationship Id="rId29" Type="http://schemas.openxmlformats.org/officeDocument/2006/relationships/slideLayout" Target="../slideLayouts/slideLayout317.xml"/><Relationship Id="rId1" Type="http://schemas.openxmlformats.org/officeDocument/2006/relationships/slideLayout" Target="../slideLayouts/slideLayout289.xml"/><Relationship Id="rId6" Type="http://schemas.openxmlformats.org/officeDocument/2006/relationships/slideLayout" Target="../slideLayouts/slideLayout294.xml"/><Relationship Id="rId11" Type="http://schemas.openxmlformats.org/officeDocument/2006/relationships/slideLayout" Target="../slideLayouts/slideLayout299.xml"/><Relationship Id="rId24" Type="http://schemas.openxmlformats.org/officeDocument/2006/relationships/slideLayout" Target="../slideLayouts/slideLayout312.xml"/><Relationship Id="rId32" Type="http://schemas.openxmlformats.org/officeDocument/2006/relationships/image" Target="../media/image15.png"/><Relationship Id="rId5" Type="http://schemas.openxmlformats.org/officeDocument/2006/relationships/slideLayout" Target="../slideLayouts/slideLayout293.xml"/><Relationship Id="rId15" Type="http://schemas.openxmlformats.org/officeDocument/2006/relationships/slideLayout" Target="../slideLayouts/slideLayout303.xml"/><Relationship Id="rId23" Type="http://schemas.openxmlformats.org/officeDocument/2006/relationships/slideLayout" Target="../slideLayouts/slideLayout311.xml"/><Relationship Id="rId28" Type="http://schemas.openxmlformats.org/officeDocument/2006/relationships/slideLayout" Target="../slideLayouts/slideLayout316.xml"/><Relationship Id="rId10" Type="http://schemas.openxmlformats.org/officeDocument/2006/relationships/slideLayout" Target="../slideLayouts/slideLayout298.xml"/><Relationship Id="rId19" Type="http://schemas.openxmlformats.org/officeDocument/2006/relationships/slideLayout" Target="../slideLayouts/slideLayout307.xml"/><Relationship Id="rId31" Type="http://schemas.openxmlformats.org/officeDocument/2006/relationships/theme" Target="../theme/theme10.xml"/><Relationship Id="rId4" Type="http://schemas.openxmlformats.org/officeDocument/2006/relationships/slideLayout" Target="../slideLayouts/slideLayout292.xml"/><Relationship Id="rId9" Type="http://schemas.openxmlformats.org/officeDocument/2006/relationships/slideLayout" Target="../slideLayouts/slideLayout297.xml"/><Relationship Id="rId14" Type="http://schemas.openxmlformats.org/officeDocument/2006/relationships/slideLayout" Target="../slideLayouts/slideLayout302.xml"/><Relationship Id="rId22" Type="http://schemas.openxmlformats.org/officeDocument/2006/relationships/slideLayout" Target="../slideLayouts/slideLayout310.xml"/><Relationship Id="rId27" Type="http://schemas.openxmlformats.org/officeDocument/2006/relationships/slideLayout" Target="../slideLayouts/slideLayout315.xml"/><Relationship Id="rId30" Type="http://schemas.openxmlformats.org/officeDocument/2006/relationships/slideLayout" Target="../slideLayouts/slideLayout318.xml"/><Relationship Id="rId8" Type="http://schemas.openxmlformats.org/officeDocument/2006/relationships/slideLayout" Target="../slideLayouts/slideLayout296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31.xml"/><Relationship Id="rId18" Type="http://schemas.openxmlformats.org/officeDocument/2006/relationships/slideLayout" Target="../slideLayouts/slideLayout336.xml"/><Relationship Id="rId26" Type="http://schemas.openxmlformats.org/officeDocument/2006/relationships/slideLayout" Target="../slideLayouts/slideLayout344.xml"/><Relationship Id="rId3" Type="http://schemas.openxmlformats.org/officeDocument/2006/relationships/slideLayout" Target="../slideLayouts/slideLayout321.xml"/><Relationship Id="rId21" Type="http://schemas.openxmlformats.org/officeDocument/2006/relationships/slideLayout" Target="../slideLayouts/slideLayout339.xml"/><Relationship Id="rId34" Type="http://schemas.openxmlformats.org/officeDocument/2006/relationships/image" Target="file://localhost/Users/Houman/Dropbox%20(ETC)/the%20harris%20poll/Design/Final/PPT/assets/logo.png" TargetMode="External"/><Relationship Id="rId7" Type="http://schemas.openxmlformats.org/officeDocument/2006/relationships/slideLayout" Target="../slideLayouts/slideLayout325.xml"/><Relationship Id="rId12" Type="http://schemas.openxmlformats.org/officeDocument/2006/relationships/slideLayout" Target="../slideLayouts/slideLayout330.xml"/><Relationship Id="rId17" Type="http://schemas.openxmlformats.org/officeDocument/2006/relationships/slideLayout" Target="../slideLayouts/slideLayout335.xml"/><Relationship Id="rId25" Type="http://schemas.openxmlformats.org/officeDocument/2006/relationships/slideLayout" Target="../slideLayouts/slideLayout343.xml"/><Relationship Id="rId33" Type="http://schemas.openxmlformats.org/officeDocument/2006/relationships/image" Target="../media/image15.png"/><Relationship Id="rId2" Type="http://schemas.openxmlformats.org/officeDocument/2006/relationships/slideLayout" Target="../slideLayouts/slideLayout320.xml"/><Relationship Id="rId16" Type="http://schemas.openxmlformats.org/officeDocument/2006/relationships/slideLayout" Target="../slideLayouts/slideLayout334.xml"/><Relationship Id="rId20" Type="http://schemas.openxmlformats.org/officeDocument/2006/relationships/slideLayout" Target="../slideLayouts/slideLayout338.xml"/><Relationship Id="rId29" Type="http://schemas.openxmlformats.org/officeDocument/2006/relationships/slideLayout" Target="../slideLayouts/slideLayout347.xml"/><Relationship Id="rId1" Type="http://schemas.openxmlformats.org/officeDocument/2006/relationships/slideLayout" Target="../slideLayouts/slideLayout319.xml"/><Relationship Id="rId6" Type="http://schemas.openxmlformats.org/officeDocument/2006/relationships/slideLayout" Target="../slideLayouts/slideLayout324.xml"/><Relationship Id="rId11" Type="http://schemas.openxmlformats.org/officeDocument/2006/relationships/slideLayout" Target="../slideLayouts/slideLayout329.xml"/><Relationship Id="rId24" Type="http://schemas.openxmlformats.org/officeDocument/2006/relationships/slideLayout" Target="../slideLayouts/slideLayout342.xml"/><Relationship Id="rId32" Type="http://schemas.openxmlformats.org/officeDocument/2006/relationships/theme" Target="../theme/theme11.xml"/><Relationship Id="rId5" Type="http://schemas.openxmlformats.org/officeDocument/2006/relationships/slideLayout" Target="../slideLayouts/slideLayout323.xml"/><Relationship Id="rId15" Type="http://schemas.openxmlformats.org/officeDocument/2006/relationships/slideLayout" Target="../slideLayouts/slideLayout333.xml"/><Relationship Id="rId23" Type="http://schemas.openxmlformats.org/officeDocument/2006/relationships/slideLayout" Target="../slideLayouts/slideLayout341.xml"/><Relationship Id="rId28" Type="http://schemas.openxmlformats.org/officeDocument/2006/relationships/slideLayout" Target="../slideLayouts/slideLayout346.xml"/><Relationship Id="rId10" Type="http://schemas.openxmlformats.org/officeDocument/2006/relationships/slideLayout" Target="../slideLayouts/slideLayout328.xml"/><Relationship Id="rId19" Type="http://schemas.openxmlformats.org/officeDocument/2006/relationships/slideLayout" Target="../slideLayouts/slideLayout337.xml"/><Relationship Id="rId31" Type="http://schemas.openxmlformats.org/officeDocument/2006/relationships/slideLayout" Target="../slideLayouts/slideLayout349.xml"/><Relationship Id="rId4" Type="http://schemas.openxmlformats.org/officeDocument/2006/relationships/slideLayout" Target="../slideLayouts/slideLayout322.xml"/><Relationship Id="rId9" Type="http://schemas.openxmlformats.org/officeDocument/2006/relationships/slideLayout" Target="../slideLayouts/slideLayout327.xml"/><Relationship Id="rId14" Type="http://schemas.openxmlformats.org/officeDocument/2006/relationships/slideLayout" Target="../slideLayouts/slideLayout332.xml"/><Relationship Id="rId22" Type="http://schemas.openxmlformats.org/officeDocument/2006/relationships/slideLayout" Target="../slideLayouts/slideLayout340.xml"/><Relationship Id="rId27" Type="http://schemas.openxmlformats.org/officeDocument/2006/relationships/slideLayout" Target="../slideLayouts/slideLayout345.xml"/><Relationship Id="rId30" Type="http://schemas.openxmlformats.org/officeDocument/2006/relationships/slideLayout" Target="../slideLayouts/slideLayout348.xml"/><Relationship Id="rId8" Type="http://schemas.openxmlformats.org/officeDocument/2006/relationships/slideLayout" Target="../slideLayouts/slideLayout326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3.xml"/><Relationship Id="rId18" Type="http://schemas.openxmlformats.org/officeDocument/2006/relationships/slideLayout" Target="../slideLayouts/slideLayout58.xml"/><Relationship Id="rId26" Type="http://schemas.openxmlformats.org/officeDocument/2006/relationships/slideLayout" Target="../slideLayouts/slideLayout66.xml"/><Relationship Id="rId21" Type="http://schemas.openxmlformats.org/officeDocument/2006/relationships/slideLayout" Target="../slideLayouts/slideLayout61.xml"/><Relationship Id="rId34" Type="http://schemas.openxmlformats.org/officeDocument/2006/relationships/slideLayout" Target="../slideLayouts/slideLayout74.xml"/><Relationship Id="rId7" Type="http://schemas.openxmlformats.org/officeDocument/2006/relationships/slideLayout" Target="../slideLayouts/slideLayout47.xml"/><Relationship Id="rId12" Type="http://schemas.openxmlformats.org/officeDocument/2006/relationships/slideLayout" Target="../slideLayouts/slideLayout52.xml"/><Relationship Id="rId17" Type="http://schemas.openxmlformats.org/officeDocument/2006/relationships/slideLayout" Target="../slideLayouts/slideLayout57.xml"/><Relationship Id="rId25" Type="http://schemas.openxmlformats.org/officeDocument/2006/relationships/slideLayout" Target="../slideLayouts/slideLayout65.xml"/><Relationship Id="rId33" Type="http://schemas.openxmlformats.org/officeDocument/2006/relationships/slideLayout" Target="../slideLayouts/slideLayout73.xml"/><Relationship Id="rId2" Type="http://schemas.openxmlformats.org/officeDocument/2006/relationships/slideLayout" Target="../slideLayouts/slideLayout42.xml"/><Relationship Id="rId16" Type="http://schemas.openxmlformats.org/officeDocument/2006/relationships/slideLayout" Target="../slideLayouts/slideLayout56.xml"/><Relationship Id="rId20" Type="http://schemas.openxmlformats.org/officeDocument/2006/relationships/slideLayout" Target="../slideLayouts/slideLayout60.xml"/><Relationship Id="rId29" Type="http://schemas.openxmlformats.org/officeDocument/2006/relationships/slideLayout" Target="../slideLayouts/slideLayout69.xml"/><Relationship Id="rId1" Type="http://schemas.openxmlformats.org/officeDocument/2006/relationships/slideLayout" Target="../slideLayouts/slideLayout41.xml"/><Relationship Id="rId6" Type="http://schemas.openxmlformats.org/officeDocument/2006/relationships/slideLayout" Target="../slideLayouts/slideLayout46.xml"/><Relationship Id="rId11" Type="http://schemas.openxmlformats.org/officeDocument/2006/relationships/slideLayout" Target="../slideLayouts/slideLayout51.xml"/><Relationship Id="rId24" Type="http://schemas.openxmlformats.org/officeDocument/2006/relationships/slideLayout" Target="../slideLayouts/slideLayout64.xml"/><Relationship Id="rId32" Type="http://schemas.openxmlformats.org/officeDocument/2006/relationships/slideLayout" Target="../slideLayouts/slideLayout72.xml"/><Relationship Id="rId37" Type="http://schemas.openxmlformats.org/officeDocument/2006/relationships/image" Target="file://localhost/Users/Houman/Dropbox%20(ETC)/the%20harris%20poll/Design/Final/PPT/assets/logo.png" TargetMode="External"/><Relationship Id="rId5" Type="http://schemas.openxmlformats.org/officeDocument/2006/relationships/slideLayout" Target="../slideLayouts/slideLayout45.xml"/><Relationship Id="rId15" Type="http://schemas.openxmlformats.org/officeDocument/2006/relationships/slideLayout" Target="../slideLayouts/slideLayout55.xml"/><Relationship Id="rId23" Type="http://schemas.openxmlformats.org/officeDocument/2006/relationships/slideLayout" Target="../slideLayouts/slideLayout63.xml"/><Relationship Id="rId28" Type="http://schemas.openxmlformats.org/officeDocument/2006/relationships/slideLayout" Target="../slideLayouts/slideLayout6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50.xml"/><Relationship Id="rId19" Type="http://schemas.openxmlformats.org/officeDocument/2006/relationships/slideLayout" Target="../slideLayouts/slideLayout59.xml"/><Relationship Id="rId31" Type="http://schemas.openxmlformats.org/officeDocument/2006/relationships/slideLayout" Target="../slideLayouts/slideLayout71.xml"/><Relationship Id="rId4" Type="http://schemas.openxmlformats.org/officeDocument/2006/relationships/slideLayout" Target="../slideLayouts/slideLayout44.xml"/><Relationship Id="rId9" Type="http://schemas.openxmlformats.org/officeDocument/2006/relationships/slideLayout" Target="../slideLayouts/slideLayout49.xml"/><Relationship Id="rId14" Type="http://schemas.openxmlformats.org/officeDocument/2006/relationships/slideLayout" Target="../slideLayouts/slideLayout54.xml"/><Relationship Id="rId22" Type="http://schemas.openxmlformats.org/officeDocument/2006/relationships/slideLayout" Target="../slideLayouts/slideLayout62.xml"/><Relationship Id="rId27" Type="http://schemas.openxmlformats.org/officeDocument/2006/relationships/slideLayout" Target="../slideLayouts/slideLayout67.xml"/><Relationship Id="rId30" Type="http://schemas.openxmlformats.org/officeDocument/2006/relationships/slideLayout" Target="../slideLayouts/slideLayout70.xml"/><Relationship Id="rId35" Type="http://schemas.openxmlformats.org/officeDocument/2006/relationships/theme" Target="../theme/theme2.xml"/><Relationship Id="rId8" Type="http://schemas.openxmlformats.org/officeDocument/2006/relationships/slideLayout" Target="../slideLayouts/slideLayout48.xml"/><Relationship Id="rId3" Type="http://schemas.openxmlformats.org/officeDocument/2006/relationships/slideLayout" Target="../slideLayouts/slideLayout43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34" Type="http://schemas.openxmlformats.org/officeDocument/2006/relationships/image" Target="file://localhost/Users/Houman/Dropbox%20(ETC)/the%20harris%20poll/Design/Final/PPT/assets/logo.png" TargetMode="Externa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33" Type="http://schemas.openxmlformats.org/officeDocument/2006/relationships/image" Target="../media/image15.png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slideLayout" Target="../slideLayouts/slideLayout103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theme" Target="../theme/theme3.xml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slideLayout" Target="../slideLayouts/slideLayout102.x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slideLayout" Target="../slideLayouts/slideLayout105.xml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slideLayout" Target="../slideLayouts/slideLayout101.xml"/><Relationship Id="rId30" Type="http://schemas.openxmlformats.org/officeDocument/2006/relationships/slideLayout" Target="../slideLayouts/slideLayout104.xml"/><Relationship Id="rId8" Type="http://schemas.openxmlformats.org/officeDocument/2006/relationships/slideLayout" Target="../slideLayouts/slideLayout82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8.xml"/><Relationship Id="rId18" Type="http://schemas.openxmlformats.org/officeDocument/2006/relationships/slideLayout" Target="../slideLayouts/slideLayout123.xml"/><Relationship Id="rId26" Type="http://schemas.openxmlformats.org/officeDocument/2006/relationships/slideLayout" Target="../slideLayouts/slideLayout131.xml"/><Relationship Id="rId3" Type="http://schemas.openxmlformats.org/officeDocument/2006/relationships/slideLayout" Target="../slideLayouts/slideLayout108.xml"/><Relationship Id="rId21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slideLayout" Target="../slideLayouts/slideLayout122.xml"/><Relationship Id="rId25" Type="http://schemas.openxmlformats.org/officeDocument/2006/relationships/slideLayout" Target="../slideLayouts/slideLayout130.xml"/><Relationship Id="rId3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slideLayout" Target="../slideLayouts/slideLayout107.xml"/><Relationship Id="rId16" Type="http://schemas.openxmlformats.org/officeDocument/2006/relationships/slideLayout" Target="../slideLayouts/slideLayout121.xml"/><Relationship Id="rId20" Type="http://schemas.openxmlformats.org/officeDocument/2006/relationships/slideLayout" Target="../slideLayouts/slideLayout125.xml"/><Relationship Id="rId29" Type="http://schemas.openxmlformats.org/officeDocument/2006/relationships/slideLayout" Target="../slideLayouts/slideLayout134.xml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24" Type="http://schemas.openxmlformats.org/officeDocument/2006/relationships/slideLayout" Target="../slideLayouts/slideLayout129.xml"/><Relationship Id="rId32" Type="http://schemas.openxmlformats.org/officeDocument/2006/relationships/image" Target="../media/image1.png"/><Relationship Id="rId5" Type="http://schemas.openxmlformats.org/officeDocument/2006/relationships/slideLayout" Target="../slideLayouts/slideLayout110.xml"/><Relationship Id="rId15" Type="http://schemas.openxmlformats.org/officeDocument/2006/relationships/slideLayout" Target="../slideLayouts/slideLayout120.xml"/><Relationship Id="rId23" Type="http://schemas.openxmlformats.org/officeDocument/2006/relationships/slideLayout" Target="../slideLayouts/slideLayout128.xml"/><Relationship Id="rId28" Type="http://schemas.openxmlformats.org/officeDocument/2006/relationships/slideLayout" Target="../slideLayouts/slideLayout133.xml"/><Relationship Id="rId10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4.xml"/><Relationship Id="rId31" Type="http://schemas.openxmlformats.org/officeDocument/2006/relationships/theme" Target="../theme/theme4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slideLayout" Target="../slideLayouts/slideLayout119.xml"/><Relationship Id="rId22" Type="http://schemas.openxmlformats.org/officeDocument/2006/relationships/slideLayout" Target="../slideLayouts/slideLayout127.xml"/><Relationship Id="rId27" Type="http://schemas.openxmlformats.org/officeDocument/2006/relationships/slideLayout" Target="../slideLayouts/slideLayout132.xml"/><Relationship Id="rId30" Type="http://schemas.openxmlformats.org/officeDocument/2006/relationships/slideLayout" Target="../slideLayouts/slideLayout135.xml"/><Relationship Id="rId8" Type="http://schemas.openxmlformats.org/officeDocument/2006/relationships/slideLayout" Target="../slideLayouts/slideLayout113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8.xml"/><Relationship Id="rId18" Type="http://schemas.openxmlformats.org/officeDocument/2006/relationships/slideLayout" Target="../slideLayouts/slideLayout153.xml"/><Relationship Id="rId26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38.xml"/><Relationship Id="rId21" Type="http://schemas.openxmlformats.org/officeDocument/2006/relationships/slideLayout" Target="../slideLayouts/slideLayout156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17" Type="http://schemas.openxmlformats.org/officeDocument/2006/relationships/slideLayout" Target="../slideLayouts/slideLayout152.xml"/><Relationship Id="rId25" Type="http://schemas.openxmlformats.org/officeDocument/2006/relationships/slideLayout" Target="../slideLayouts/slideLayout160.xml"/><Relationship Id="rId3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slideLayout" Target="../slideLayouts/slideLayout137.xml"/><Relationship Id="rId16" Type="http://schemas.openxmlformats.org/officeDocument/2006/relationships/slideLayout" Target="../slideLayouts/slideLayout151.xml"/><Relationship Id="rId20" Type="http://schemas.openxmlformats.org/officeDocument/2006/relationships/slideLayout" Target="../slideLayouts/slideLayout155.xml"/><Relationship Id="rId29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24" Type="http://schemas.openxmlformats.org/officeDocument/2006/relationships/slideLayout" Target="../slideLayouts/slideLayout159.xml"/><Relationship Id="rId32" Type="http://schemas.openxmlformats.org/officeDocument/2006/relationships/image" Target="../media/image23.png"/><Relationship Id="rId5" Type="http://schemas.openxmlformats.org/officeDocument/2006/relationships/slideLayout" Target="../slideLayouts/slideLayout140.xml"/><Relationship Id="rId15" Type="http://schemas.openxmlformats.org/officeDocument/2006/relationships/slideLayout" Target="../slideLayouts/slideLayout150.xml"/><Relationship Id="rId23" Type="http://schemas.openxmlformats.org/officeDocument/2006/relationships/slideLayout" Target="../slideLayouts/slideLayout158.xml"/><Relationship Id="rId28" Type="http://schemas.openxmlformats.org/officeDocument/2006/relationships/slideLayout" Target="../slideLayouts/slideLayout163.xml"/><Relationship Id="rId10" Type="http://schemas.openxmlformats.org/officeDocument/2006/relationships/slideLayout" Target="../slideLayouts/slideLayout145.xml"/><Relationship Id="rId19" Type="http://schemas.openxmlformats.org/officeDocument/2006/relationships/slideLayout" Target="../slideLayouts/slideLayout154.xml"/><Relationship Id="rId31" Type="http://schemas.openxmlformats.org/officeDocument/2006/relationships/theme" Target="../theme/theme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slideLayout" Target="../slideLayouts/slideLayout149.xml"/><Relationship Id="rId22" Type="http://schemas.openxmlformats.org/officeDocument/2006/relationships/slideLayout" Target="../slideLayouts/slideLayout157.xml"/><Relationship Id="rId27" Type="http://schemas.openxmlformats.org/officeDocument/2006/relationships/slideLayout" Target="../slideLayouts/slideLayout162.xml"/><Relationship Id="rId30" Type="http://schemas.openxmlformats.org/officeDocument/2006/relationships/slideLayout" Target="../slideLayouts/slideLayout165.xml"/><Relationship Id="rId8" Type="http://schemas.openxmlformats.org/officeDocument/2006/relationships/slideLayout" Target="../slideLayouts/slideLayout143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78.xml"/><Relationship Id="rId18" Type="http://schemas.openxmlformats.org/officeDocument/2006/relationships/slideLayout" Target="../slideLayouts/slideLayout183.xml"/><Relationship Id="rId26" Type="http://schemas.openxmlformats.org/officeDocument/2006/relationships/slideLayout" Target="../slideLayouts/slideLayout191.xml"/><Relationship Id="rId3" Type="http://schemas.openxmlformats.org/officeDocument/2006/relationships/slideLayout" Target="../slideLayouts/slideLayout168.xml"/><Relationship Id="rId21" Type="http://schemas.openxmlformats.org/officeDocument/2006/relationships/slideLayout" Target="../slideLayouts/slideLayout186.xml"/><Relationship Id="rId7" Type="http://schemas.openxmlformats.org/officeDocument/2006/relationships/slideLayout" Target="../slideLayouts/slideLayout172.xml"/><Relationship Id="rId12" Type="http://schemas.openxmlformats.org/officeDocument/2006/relationships/slideLayout" Target="../slideLayouts/slideLayout177.xml"/><Relationship Id="rId17" Type="http://schemas.openxmlformats.org/officeDocument/2006/relationships/slideLayout" Target="../slideLayouts/slideLayout182.xml"/><Relationship Id="rId25" Type="http://schemas.openxmlformats.org/officeDocument/2006/relationships/slideLayout" Target="../slideLayouts/slideLayout190.xml"/><Relationship Id="rId3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slideLayout" Target="../slideLayouts/slideLayout167.xml"/><Relationship Id="rId16" Type="http://schemas.openxmlformats.org/officeDocument/2006/relationships/slideLayout" Target="../slideLayouts/slideLayout181.xml"/><Relationship Id="rId20" Type="http://schemas.openxmlformats.org/officeDocument/2006/relationships/slideLayout" Target="../slideLayouts/slideLayout185.xml"/><Relationship Id="rId29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66.xml"/><Relationship Id="rId6" Type="http://schemas.openxmlformats.org/officeDocument/2006/relationships/slideLayout" Target="../slideLayouts/slideLayout171.xml"/><Relationship Id="rId11" Type="http://schemas.openxmlformats.org/officeDocument/2006/relationships/slideLayout" Target="../slideLayouts/slideLayout176.xml"/><Relationship Id="rId24" Type="http://schemas.openxmlformats.org/officeDocument/2006/relationships/slideLayout" Target="../slideLayouts/slideLayout189.xml"/><Relationship Id="rId32" Type="http://schemas.openxmlformats.org/officeDocument/2006/relationships/image" Target="../media/image15.png"/><Relationship Id="rId5" Type="http://schemas.openxmlformats.org/officeDocument/2006/relationships/slideLayout" Target="../slideLayouts/slideLayout170.xml"/><Relationship Id="rId15" Type="http://schemas.openxmlformats.org/officeDocument/2006/relationships/slideLayout" Target="../slideLayouts/slideLayout180.xml"/><Relationship Id="rId23" Type="http://schemas.openxmlformats.org/officeDocument/2006/relationships/slideLayout" Target="../slideLayouts/slideLayout188.xml"/><Relationship Id="rId28" Type="http://schemas.openxmlformats.org/officeDocument/2006/relationships/slideLayout" Target="../slideLayouts/slideLayout193.xml"/><Relationship Id="rId10" Type="http://schemas.openxmlformats.org/officeDocument/2006/relationships/slideLayout" Target="../slideLayouts/slideLayout175.xml"/><Relationship Id="rId19" Type="http://schemas.openxmlformats.org/officeDocument/2006/relationships/slideLayout" Target="../slideLayouts/slideLayout184.xml"/><Relationship Id="rId31" Type="http://schemas.openxmlformats.org/officeDocument/2006/relationships/theme" Target="../theme/theme6.xml"/><Relationship Id="rId4" Type="http://schemas.openxmlformats.org/officeDocument/2006/relationships/slideLayout" Target="../slideLayouts/slideLayout169.xml"/><Relationship Id="rId9" Type="http://schemas.openxmlformats.org/officeDocument/2006/relationships/slideLayout" Target="../slideLayouts/slideLayout174.xml"/><Relationship Id="rId14" Type="http://schemas.openxmlformats.org/officeDocument/2006/relationships/slideLayout" Target="../slideLayouts/slideLayout179.xml"/><Relationship Id="rId22" Type="http://schemas.openxmlformats.org/officeDocument/2006/relationships/slideLayout" Target="../slideLayouts/slideLayout187.xml"/><Relationship Id="rId27" Type="http://schemas.openxmlformats.org/officeDocument/2006/relationships/slideLayout" Target="../slideLayouts/slideLayout192.xml"/><Relationship Id="rId30" Type="http://schemas.openxmlformats.org/officeDocument/2006/relationships/slideLayout" Target="../slideLayouts/slideLayout195.xml"/><Relationship Id="rId8" Type="http://schemas.openxmlformats.org/officeDocument/2006/relationships/slideLayout" Target="../slideLayouts/slideLayout173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08.xml"/><Relationship Id="rId18" Type="http://schemas.openxmlformats.org/officeDocument/2006/relationships/slideLayout" Target="../slideLayouts/slideLayout213.xml"/><Relationship Id="rId26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198.xml"/><Relationship Id="rId21" Type="http://schemas.openxmlformats.org/officeDocument/2006/relationships/slideLayout" Target="../slideLayouts/slideLayout216.xml"/><Relationship Id="rId34" Type="http://schemas.openxmlformats.org/officeDocument/2006/relationships/image" Target="file://localhost/Users/Houman/Dropbox%20(ETC)/the%20harris%20poll/Design/Final/PPT/assets/logo.png" TargetMode="External"/><Relationship Id="rId7" Type="http://schemas.openxmlformats.org/officeDocument/2006/relationships/slideLayout" Target="../slideLayouts/slideLayout202.xml"/><Relationship Id="rId12" Type="http://schemas.openxmlformats.org/officeDocument/2006/relationships/slideLayout" Target="../slideLayouts/slideLayout207.xml"/><Relationship Id="rId17" Type="http://schemas.openxmlformats.org/officeDocument/2006/relationships/slideLayout" Target="../slideLayouts/slideLayout212.xml"/><Relationship Id="rId25" Type="http://schemas.openxmlformats.org/officeDocument/2006/relationships/slideLayout" Target="../slideLayouts/slideLayout220.xml"/><Relationship Id="rId33" Type="http://schemas.openxmlformats.org/officeDocument/2006/relationships/image" Target="../media/image15.png"/><Relationship Id="rId2" Type="http://schemas.openxmlformats.org/officeDocument/2006/relationships/slideLayout" Target="../slideLayouts/slideLayout197.xml"/><Relationship Id="rId16" Type="http://schemas.openxmlformats.org/officeDocument/2006/relationships/slideLayout" Target="../slideLayouts/slideLayout211.xml"/><Relationship Id="rId20" Type="http://schemas.openxmlformats.org/officeDocument/2006/relationships/slideLayout" Target="../slideLayouts/slideLayout215.xml"/><Relationship Id="rId29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196.xml"/><Relationship Id="rId6" Type="http://schemas.openxmlformats.org/officeDocument/2006/relationships/slideLayout" Target="../slideLayouts/slideLayout201.xml"/><Relationship Id="rId11" Type="http://schemas.openxmlformats.org/officeDocument/2006/relationships/slideLayout" Target="../slideLayouts/slideLayout206.xml"/><Relationship Id="rId24" Type="http://schemas.openxmlformats.org/officeDocument/2006/relationships/slideLayout" Target="../slideLayouts/slideLayout219.xml"/><Relationship Id="rId32" Type="http://schemas.openxmlformats.org/officeDocument/2006/relationships/theme" Target="../theme/theme7.xml"/><Relationship Id="rId5" Type="http://schemas.openxmlformats.org/officeDocument/2006/relationships/slideLayout" Target="../slideLayouts/slideLayout200.xml"/><Relationship Id="rId15" Type="http://schemas.openxmlformats.org/officeDocument/2006/relationships/slideLayout" Target="../slideLayouts/slideLayout210.xml"/><Relationship Id="rId23" Type="http://schemas.openxmlformats.org/officeDocument/2006/relationships/slideLayout" Target="../slideLayouts/slideLayout218.xml"/><Relationship Id="rId28" Type="http://schemas.openxmlformats.org/officeDocument/2006/relationships/slideLayout" Target="../slideLayouts/slideLayout223.xml"/><Relationship Id="rId10" Type="http://schemas.openxmlformats.org/officeDocument/2006/relationships/slideLayout" Target="../slideLayouts/slideLayout205.xml"/><Relationship Id="rId19" Type="http://schemas.openxmlformats.org/officeDocument/2006/relationships/slideLayout" Target="../slideLayouts/slideLayout214.xml"/><Relationship Id="rId31" Type="http://schemas.openxmlformats.org/officeDocument/2006/relationships/slideLayout" Target="../slideLayouts/slideLayout226.xml"/><Relationship Id="rId4" Type="http://schemas.openxmlformats.org/officeDocument/2006/relationships/slideLayout" Target="../slideLayouts/slideLayout199.xml"/><Relationship Id="rId9" Type="http://schemas.openxmlformats.org/officeDocument/2006/relationships/slideLayout" Target="../slideLayouts/slideLayout204.xml"/><Relationship Id="rId14" Type="http://schemas.openxmlformats.org/officeDocument/2006/relationships/slideLayout" Target="../slideLayouts/slideLayout209.xml"/><Relationship Id="rId22" Type="http://schemas.openxmlformats.org/officeDocument/2006/relationships/slideLayout" Target="../slideLayouts/slideLayout217.xml"/><Relationship Id="rId27" Type="http://schemas.openxmlformats.org/officeDocument/2006/relationships/slideLayout" Target="../slideLayouts/slideLayout222.xml"/><Relationship Id="rId30" Type="http://schemas.openxmlformats.org/officeDocument/2006/relationships/slideLayout" Target="../slideLayouts/slideLayout225.xml"/><Relationship Id="rId8" Type="http://schemas.openxmlformats.org/officeDocument/2006/relationships/slideLayout" Target="../slideLayouts/slideLayout20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9.xml"/><Relationship Id="rId18" Type="http://schemas.openxmlformats.org/officeDocument/2006/relationships/slideLayout" Target="../slideLayouts/slideLayout244.xml"/><Relationship Id="rId26" Type="http://schemas.openxmlformats.org/officeDocument/2006/relationships/slideLayout" Target="../slideLayouts/slideLayout252.xml"/><Relationship Id="rId3" Type="http://schemas.openxmlformats.org/officeDocument/2006/relationships/slideLayout" Target="../slideLayouts/slideLayout229.xml"/><Relationship Id="rId21" Type="http://schemas.openxmlformats.org/officeDocument/2006/relationships/slideLayout" Target="../slideLayouts/slideLayout247.xml"/><Relationship Id="rId7" Type="http://schemas.openxmlformats.org/officeDocument/2006/relationships/slideLayout" Target="../slideLayouts/slideLayout233.xml"/><Relationship Id="rId12" Type="http://schemas.openxmlformats.org/officeDocument/2006/relationships/slideLayout" Target="../slideLayouts/slideLayout238.xml"/><Relationship Id="rId17" Type="http://schemas.openxmlformats.org/officeDocument/2006/relationships/slideLayout" Target="../slideLayouts/slideLayout243.xml"/><Relationship Id="rId25" Type="http://schemas.openxmlformats.org/officeDocument/2006/relationships/slideLayout" Target="../slideLayouts/slideLayout251.xml"/><Relationship Id="rId33" Type="http://schemas.openxmlformats.org/officeDocument/2006/relationships/image" Target="file://localhost/Users/Houman/Dropbox%20(ETC)/the%20harris%20poll/Design/Final/PPT/assets/logo.png" TargetMode="External"/><Relationship Id="rId2" Type="http://schemas.openxmlformats.org/officeDocument/2006/relationships/slideLayout" Target="../slideLayouts/slideLayout228.xml"/><Relationship Id="rId16" Type="http://schemas.openxmlformats.org/officeDocument/2006/relationships/slideLayout" Target="../slideLayouts/slideLayout242.xml"/><Relationship Id="rId20" Type="http://schemas.openxmlformats.org/officeDocument/2006/relationships/slideLayout" Target="../slideLayouts/slideLayout246.xml"/><Relationship Id="rId29" Type="http://schemas.openxmlformats.org/officeDocument/2006/relationships/slideLayout" Target="../slideLayouts/slideLayout255.xml"/><Relationship Id="rId1" Type="http://schemas.openxmlformats.org/officeDocument/2006/relationships/slideLayout" Target="../slideLayouts/slideLayout227.xml"/><Relationship Id="rId6" Type="http://schemas.openxmlformats.org/officeDocument/2006/relationships/slideLayout" Target="../slideLayouts/slideLayout232.xml"/><Relationship Id="rId11" Type="http://schemas.openxmlformats.org/officeDocument/2006/relationships/slideLayout" Target="../slideLayouts/slideLayout237.xml"/><Relationship Id="rId24" Type="http://schemas.openxmlformats.org/officeDocument/2006/relationships/slideLayout" Target="../slideLayouts/slideLayout250.xml"/><Relationship Id="rId32" Type="http://schemas.openxmlformats.org/officeDocument/2006/relationships/image" Target="../media/image27.png"/><Relationship Id="rId5" Type="http://schemas.openxmlformats.org/officeDocument/2006/relationships/slideLayout" Target="../slideLayouts/slideLayout231.xml"/><Relationship Id="rId15" Type="http://schemas.openxmlformats.org/officeDocument/2006/relationships/slideLayout" Target="../slideLayouts/slideLayout241.xml"/><Relationship Id="rId23" Type="http://schemas.openxmlformats.org/officeDocument/2006/relationships/slideLayout" Target="../slideLayouts/slideLayout249.xml"/><Relationship Id="rId28" Type="http://schemas.openxmlformats.org/officeDocument/2006/relationships/slideLayout" Target="../slideLayouts/slideLayout254.xml"/><Relationship Id="rId10" Type="http://schemas.openxmlformats.org/officeDocument/2006/relationships/slideLayout" Target="../slideLayouts/slideLayout236.xml"/><Relationship Id="rId19" Type="http://schemas.openxmlformats.org/officeDocument/2006/relationships/slideLayout" Target="../slideLayouts/slideLayout245.xml"/><Relationship Id="rId31" Type="http://schemas.openxmlformats.org/officeDocument/2006/relationships/theme" Target="../theme/theme8.xml"/><Relationship Id="rId4" Type="http://schemas.openxmlformats.org/officeDocument/2006/relationships/slideLayout" Target="../slideLayouts/slideLayout230.xml"/><Relationship Id="rId9" Type="http://schemas.openxmlformats.org/officeDocument/2006/relationships/slideLayout" Target="../slideLayouts/slideLayout235.xml"/><Relationship Id="rId14" Type="http://schemas.openxmlformats.org/officeDocument/2006/relationships/slideLayout" Target="../slideLayouts/slideLayout240.xml"/><Relationship Id="rId22" Type="http://schemas.openxmlformats.org/officeDocument/2006/relationships/slideLayout" Target="../slideLayouts/slideLayout248.xml"/><Relationship Id="rId27" Type="http://schemas.openxmlformats.org/officeDocument/2006/relationships/slideLayout" Target="../slideLayouts/slideLayout253.xml"/><Relationship Id="rId30" Type="http://schemas.openxmlformats.org/officeDocument/2006/relationships/slideLayout" Target="../slideLayouts/slideLayout256.xml"/><Relationship Id="rId8" Type="http://schemas.openxmlformats.org/officeDocument/2006/relationships/slideLayout" Target="../slideLayouts/slideLayout234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69.xml"/><Relationship Id="rId18" Type="http://schemas.openxmlformats.org/officeDocument/2006/relationships/slideLayout" Target="../slideLayouts/slideLayout274.xml"/><Relationship Id="rId26" Type="http://schemas.openxmlformats.org/officeDocument/2006/relationships/slideLayout" Target="../slideLayouts/slideLayout282.xml"/><Relationship Id="rId3" Type="http://schemas.openxmlformats.org/officeDocument/2006/relationships/slideLayout" Target="../slideLayouts/slideLayout259.xml"/><Relationship Id="rId21" Type="http://schemas.openxmlformats.org/officeDocument/2006/relationships/slideLayout" Target="../slideLayouts/slideLayout277.xml"/><Relationship Id="rId34" Type="http://schemas.openxmlformats.org/officeDocument/2006/relationships/image" Target="../media/image15.png"/><Relationship Id="rId7" Type="http://schemas.openxmlformats.org/officeDocument/2006/relationships/slideLayout" Target="../slideLayouts/slideLayout263.xml"/><Relationship Id="rId12" Type="http://schemas.openxmlformats.org/officeDocument/2006/relationships/slideLayout" Target="../slideLayouts/slideLayout268.xml"/><Relationship Id="rId17" Type="http://schemas.openxmlformats.org/officeDocument/2006/relationships/slideLayout" Target="../slideLayouts/slideLayout273.xml"/><Relationship Id="rId25" Type="http://schemas.openxmlformats.org/officeDocument/2006/relationships/slideLayout" Target="../slideLayouts/slideLayout281.xml"/><Relationship Id="rId33" Type="http://schemas.openxmlformats.org/officeDocument/2006/relationships/theme" Target="../theme/theme9.xml"/><Relationship Id="rId2" Type="http://schemas.openxmlformats.org/officeDocument/2006/relationships/slideLayout" Target="../slideLayouts/slideLayout258.xml"/><Relationship Id="rId16" Type="http://schemas.openxmlformats.org/officeDocument/2006/relationships/slideLayout" Target="../slideLayouts/slideLayout272.xml"/><Relationship Id="rId20" Type="http://schemas.openxmlformats.org/officeDocument/2006/relationships/slideLayout" Target="../slideLayouts/slideLayout276.xml"/><Relationship Id="rId29" Type="http://schemas.openxmlformats.org/officeDocument/2006/relationships/slideLayout" Target="../slideLayouts/slideLayout285.xml"/><Relationship Id="rId1" Type="http://schemas.openxmlformats.org/officeDocument/2006/relationships/slideLayout" Target="../slideLayouts/slideLayout257.xml"/><Relationship Id="rId6" Type="http://schemas.openxmlformats.org/officeDocument/2006/relationships/slideLayout" Target="../slideLayouts/slideLayout262.xml"/><Relationship Id="rId11" Type="http://schemas.openxmlformats.org/officeDocument/2006/relationships/slideLayout" Target="../slideLayouts/slideLayout267.xml"/><Relationship Id="rId24" Type="http://schemas.openxmlformats.org/officeDocument/2006/relationships/slideLayout" Target="../slideLayouts/slideLayout280.xml"/><Relationship Id="rId32" Type="http://schemas.openxmlformats.org/officeDocument/2006/relationships/slideLayout" Target="../slideLayouts/slideLayout288.xml"/><Relationship Id="rId5" Type="http://schemas.openxmlformats.org/officeDocument/2006/relationships/slideLayout" Target="../slideLayouts/slideLayout261.xml"/><Relationship Id="rId15" Type="http://schemas.openxmlformats.org/officeDocument/2006/relationships/slideLayout" Target="../slideLayouts/slideLayout271.xml"/><Relationship Id="rId23" Type="http://schemas.openxmlformats.org/officeDocument/2006/relationships/slideLayout" Target="../slideLayouts/slideLayout279.xml"/><Relationship Id="rId28" Type="http://schemas.openxmlformats.org/officeDocument/2006/relationships/slideLayout" Target="../slideLayouts/slideLayout284.xml"/><Relationship Id="rId10" Type="http://schemas.openxmlformats.org/officeDocument/2006/relationships/slideLayout" Target="../slideLayouts/slideLayout266.xml"/><Relationship Id="rId19" Type="http://schemas.openxmlformats.org/officeDocument/2006/relationships/slideLayout" Target="../slideLayouts/slideLayout275.xml"/><Relationship Id="rId31" Type="http://schemas.openxmlformats.org/officeDocument/2006/relationships/slideLayout" Target="../slideLayouts/slideLayout287.xml"/><Relationship Id="rId4" Type="http://schemas.openxmlformats.org/officeDocument/2006/relationships/slideLayout" Target="../slideLayouts/slideLayout260.xml"/><Relationship Id="rId9" Type="http://schemas.openxmlformats.org/officeDocument/2006/relationships/slideLayout" Target="../slideLayouts/slideLayout265.xml"/><Relationship Id="rId14" Type="http://schemas.openxmlformats.org/officeDocument/2006/relationships/slideLayout" Target="../slideLayouts/slideLayout270.xml"/><Relationship Id="rId22" Type="http://schemas.openxmlformats.org/officeDocument/2006/relationships/slideLayout" Target="../slideLayouts/slideLayout278.xml"/><Relationship Id="rId27" Type="http://schemas.openxmlformats.org/officeDocument/2006/relationships/slideLayout" Target="../slideLayouts/slideLayout283.xml"/><Relationship Id="rId30" Type="http://schemas.openxmlformats.org/officeDocument/2006/relationships/slideLayout" Target="../slideLayouts/slideLayout286.xml"/><Relationship Id="rId35" Type="http://schemas.openxmlformats.org/officeDocument/2006/relationships/image" Target="file://localhost/Users/Houman/Dropbox%20(ETC)/the%20harris%20poll/Design/Final/PPT/assets/logo.png" TargetMode="External"/><Relationship Id="rId8" Type="http://schemas.openxmlformats.org/officeDocument/2006/relationships/slideLayout" Target="../slideLayouts/slideLayout26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42" r:link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62735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6" r:id="rId1"/>
    <p:sldLayoutId id="2147484167" r:id="rId2"/>
    <p:sldLayoutId id="2147484168" r:id="rId3"/>
    <p:sldLayoutId id="2147484169" r:id="rId4"/>
    <p:sldLayoutId id="2147484170" r:id="rId5"/>
    <p:sldLayoutId id="2147484171" r:id="rId6"/>
    <p:sldLayoutId id="2147484172" r:id="rId7"/>
    <p:sldLayoutId id="2147484173" r:id="rId8"/>
    <p:sldLayoutId id="2147484174" r:id="rId9"/>
    <p:sldLayoutId id="2147484175" r:id="rId10"/>
    <p:sldLayoutId id="2147484176" r:id="rId11"/>
    <p:sldLayoutId id="2147484177" r:id="rId12"/>
    <p:sldLayoutId id="2147484178" r:id="rId13"/>
    <p:sldLayoutId id="2147484179" r:id="rId14"/>
    <p:sldLayoutId id="2147484180" r:id="rId15"/>
    <p:sldLayoutId id="2147484181" r:id="rId16"/>
    <p:sldLayoutId id="2147484182" r:id="rId17"/>
    <p:sldLayoutId id="2147484183" r:id="rId18"/>
    <p:sldLayoutId id="2147484184" r:id="rId19"/>
    <p:sldLayoutId id="2147484185" r:id="rId20"/>
    <p:sldLayoutId id="2147484186" r:id="rId21"/>
    <p:sldLayoutId id="2147484187" r:id="rId22"/>
    <p:sldLayoutId id="2147484188" r:id="rId23"/>
    <p:sldLayoutId id="2147484189" r:id="rId24"/>
    <p:sldLayoutId id="2147484190" r:id="rId25"/>
    <p:sldLayoutId id="2147484191" r:id="rId26"/>
    <p:sldLayoutId id="2147484192" r:id="rId27"/>
    <p:sldLayoutId id="2147484193" r:id="rId28"/>
    <p:sldLayoutId id="2147484194" r:id="rId29"/>
    <p:sldLayoutId id="2147484195" r:id="rId30"/>
    <p:sldLayoutId id="2147484196" r:id="rId31"/>
    <p:sldLayoutId id="2147484197" r:id="rId32"/>
    <p:sldLayoutId id="2147484198" r:id="rId33"/>
    <p:sldLayoutId id="2147484199" r:id="rId34"/>
    <p:sldLayoutId id="2147484200" r:id="rId35"/>
    <p:sldLayoutId id="2147484201" r:id="rId36"/>
    <p:sldLayoutId id="2147484202" r:id="rId37"/>
    <p:sldLayoutId id="2147484203" r:id="rId38"/>
    <p:sldLayoutId id="2147484204" r:id="rId39"/>
    <p:sldLayoutId id="2147484205" r:id="rId40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2" r:link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0730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46" r:id="rId1"/>
    <p:sldLayoutId id="2147484647" r:id="rId2"/>
    <p:sldLayoutId id="2147484648" r:id="rId3"/>
    <p:sldLayoutId id="2147484649" r:id="rId4"/>
    <p:sldLayoutId id="2147484650" r:id="rId5"/>
    <p:sldLayoutId id="2147484651" r:id="rId6"/>
    <p:sldLayoutId id="2147484652" r:id="rId7"/>
    <p:sldLayoutId id="2147484653" r:id="rId8"/>
    <p:sldLayoutId id="2147484654" r:id="rId9"/>
    <p:sldLayoutId id="2147484655" r:id="rId10"/>
    <p:sldLayoutId id="2147484656" r:id="rId11"/>
    <p:sldLayoutId id="2147484657" r:id="rId12"/>
    <p:sldLayoutId id="2147484658" r:id="rId13"/>
    <p:sldLayoutId id="2147484659" r:id="rId14"/>
    <p:sldLayoutId id="2147484660" r:id="rId15"/>
    <p:sldLayoutId id="2147484661" r:id="rId16"/>
    <p:sldLayoutId id="2147484662" r:id="rId17"/>
    <p:sldLayoutId id="2147484663" r:id="rId18"/>
    <p:sldLayoutId id="2147484664" r:id="rId19"/>
    <p:sldLayoutId id="2147484665" r:id="rId20"/>
    <p:sldLayoutId id="2147484666" r:id="rId21"/>
    <p:sldLayoutId id="2147484667" r:id="rId22"/>
    <p:sldLayoutId id="2147484668" r:id="rId23"/>
    <p:sldLayoutId id="2147484669" r:id="rId24"/>
    <p:sldLayoutId id="2147484670" r:id="rId25"/>
    <p:sldLayoutId id="2147484671" r:id="rId26"/>
    <p:sldLayoutId id="2147484672" r:id="rId27"/>
    <p:sldLayoutId id="2147484673" r:id="rId28"/>
    <p:sldLayoutId id="2147484674" r:id="rId29"/>
    <p:sldLayoutId id="2147484675" r:id="rId30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3" r:link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84350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7" r:id="rId1"/>
    <p:sldLayoutId id="2147484678" r:id="rId2"/>
    <p:sldLayoutId id="2147484679" r:id="rId3"/>
    <p:sldLayoutId id="2147484680" r:id="rId4"/>
    <p:sldLayoutId id="2147484681" r:id="rId5"/>
    <p:sldLayoutId id="2147484682" r:id="rId6"/>
    <p:sldLayoutId id="2147484683" r:id="rId7"/>
    <p:sldLayoutId id="2147484684" r:id="rId8"/>
    <p:sldLayoutId id="2147484685" r:id="rId9"/>
    <p:sldLayoutId id="2147484686" r:id="rId10"/>
    <p:sldLayoutId id="2147484687" r:id="rId11"/>
    <p:sldLayoutId id="2147484688" r:id="rId12"/>
    <p:sldLayoutId id="2147484689" r:id="rId13"/>
    <p:sldLayoutId id="2147484690" r:id="rId14"/>
    <p:sldLayoutId id="2147484691" r:id="rId15"/>
    <p:sldLayoutId id="2147484692" r:id="rId16"/>
    <p:sldLayoutId id="2147484693" r:id="rId17"/>
    <p:sldLayoutId id="2147484694" r:id="rId18"/>
    <p:sldLayoutId id="2147484695" r:id="rId19"/>
    <p:sldLayoutId id="2147484696" r:id="rId20"/>
    <p:sldLayoutId id="2147484697" r:id="rId21"/>
    <p:sldLayoutId id="2147484698" r:id="rId22"/>
    <p:sldLayoutId id="2147484699" r:id="rId23"/>
    <p:sldLayoutId id="2147484700" r:id="rId24"/>
    <p:sldLayoutId id="2147484701" r:id="rId25"/>
    <p:sldLayoutId id="2147484702" r:id="rId26"/>
    <p:sldLayoutId id="2147484703" r:id="rId27"/>
    <p:sldLayoutId id="2147484704" r:id="rId28"/>
    <p:sldLayoutId id="2147484705" r:id="rId29"/>
    <p:sldLayoutId id="2147484706" r:id="rId30"/>
    <p:sldLayoutId id="2147484707" r:id="rId31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8" y="6313587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7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6" r:link="rId3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4" y="311151"/>
            <a:ext cx="295705" cy="3048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06C707BA-6FD5-4064-A2EB-A00D517FB9D8}"/>
              </a:ext>
            </a:extLst>
          </p:cNvPr>
          <p:cNvSpPr txBox="1"/>
          <p:nvPr userDrawn="1"/>
        </p:nvSpPr>
        <p:spPr>
          <a:xfrm>
            <a:off x="391766" y="6472203"/>
            <a:ext cx="2956900" cy="215444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Harris Insights &amp; Analytics, LLC, A </a:t>
            </a:r>
            <a:r>
              <a:rPr lang="en-US" sz="800" b="0" i="0" kern="1200" err="1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Stagwell</a:t>
            </a:r>
            <a:r>
              <a:rPr lang="en-US" sz="800" b="0" i="0" kern="1200"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rPr>
              <a:t> Company (c) 2024</a:t>
            </a:r>
          </a:p>
        </p:txBody>
      </p:sp>
    </p:spTree>
    <p:extLst>
      <p:ext uri="{BB962C8B-B14F-4D97-AF65-F5344CB8AC3E}">
        <p14:creationId xmlns:p14="http://schemas.microsoft.com/office/powerpoint/2010/main" val="31577769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3" r:id="rId1"/>
    <p:sldLayoutId id="2147484244" r:id="rId2"/>
    <p:sldLayoutId id="2147484245" r:id="rId3"/>
    <p:sldLayoutId id="2147484246" r:id="rId4"/>
    <p:sldLayoutId id="2147484247" r:id="rId5"/>
    <p:sldLayoutId id="2147484248" r:id="rId6"/>
    <p:sldLayoutId id="2147484249" r:id="rId7"/>
    <p:sldLayoutId id="2147484250" r:id="rId8"/>
    <p:sldLayoutId id="2147484251" r:id="rId9"/>
    <p:sldLayoutId id="2147484252" r:id="rId10"/>
    <p:sldLayoutId id="2147484253" r:id="rId11"/>
    <p:sldLayoutId id="2147484254" r:id="rId12"/>
    <p:sldLayoutId id="2147484255" r:id="rId13"/>
    <p:sldLayoutId id="2147484256" r:id="rId14"/>
    <p:sldLayoutId id="2147484257" r:id="rId15"/>
    <p:sldLayoutId id="2147484258" r:id="rId16"/>
    <p:sldLayoutId id="2147484259" r:id="rId17"/>
    <p:sldLayoutId id="2147484260" r:id="rId18"/>
    <p:sldLayoutId id="2147484261" r:id="rId19"/>
    <p:sldLayoutId id="2147484262" r:id="rId20"/>
    <p:sldLayoutId id="2147484263" r:id="rId21"/>
    <p:sldLayoutId id="2147484264" r:id="rId22"/>
    <p:sldLayoutId id="2147484265" r:id="rId23"/>
    <p:sldLayoutId id="2147484266" r:id="rId24"/>
    <p:sldLayoutId id="2147484267" r:id="rId25"/>
    <p:sldLayoutId id="2147484268" r:id="rId26"/>
    <p:sldLayoutId id="2147484269" r:id="rId27"/>
    <p:sldLayoutId id="2147484270" r:id="rId28"/>
    <p:sldLayoutId id="2147484271" r:id="rId29"/>
    <p:sldLayoutId id="2147484272" r:id="rId30"/>
    <p:sldLayoutId id="2147484273" r:id="rId31"/>
    <p:sldLayoutId id="2147484274" r:id="rId32"/>
    <p:sldLayoutId id="2147484275" r:id="rId33"/>
    <p:sldLayoutId id="2147484276" r:id="rId34"/>
  </p:sldLayoutIdLst>
  <p:hf hdr="0"/>
  <p:txStyles>
    <p:titleStyle>
      <a:lvl1pPr algn="l" defTabSz="609570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78" indent="-457178" algn="l" defTabSz="609570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50" indent="-380981" algn="l" defTabSz="609570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25" indent="-304784" algn="l" defTabSz="609570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493" indent="-304784" algn="l" defTabSz="609570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062" indent="-304784" algn="l" defTabSz="609570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63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20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2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341" indent="-304784" algn="l" defTabSz="609570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7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40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09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27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84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418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98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557" algn="l" defTabSz="6095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3" r:link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8616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54" r:id="rId1"/>
    <p:sldLayoutId id="2147484355" r:id="rId2"/>
    <p:sldLayoutId id="2147484356" r:id="rId3"/>
    <p:sldLayoutId id="2147484357" r:id="rId4"/>
    <p:sldLayoutId id="2147484358" r:id="rId5"/>
    <p:sldLayoutId id="2147484359" r:id="rId6"/>
    <p:sldLayoutId id="2147484360" r:id="rId7"/>
    <p:sldLayoutId id="2147484361" r:id="rId8"/>
    <p:sldLayoutId id="2147484362" r:id="rId9"/>
    <p:sldLayoutId id="2147484363" r:id="rId10"/>
    <p:sldLayoutId id="2147484364" r:id="rId11"/>
    <p:sldLayoutId id="2147484365" r:id="rId12"/>
    <p:sldLayoutId id="2147484366" r:id="rId13"/>
    <p:sldLayoutId id="2147484367" r:id="rId14"/>
    <p:sldLayoutId id="2147484368" r:id="rId15"/>
    <p:sldLayoutId id="2147484369" r:id="rId16"/>
    <p:sldLayoutId id="2147484370" r:id="rId17"/>
    <p:sldLayoutId id="2147484371" r:id="rId18"/>
    <p:sldLayoutId id="2147484372" r:id="rId19"/>
    <p:sldLayoutId id="2147484373" r:id="rId20"/>
    <p:sldLayoutId id="2147484374" r:id="rId21"/>
    <p:sldLayoutId id="2147484375" r:id="rId22"/>
    <p:sldLayoutId id="2147484376" r:id="rId23"/>
    <p:sldLayoutId id="2147484377" r:id="rId24"/>
    <p:sldLayoutId id="2147484378" r:id="rId25"/>
    <p:sldLayoutId id="2147484379" r:id="rId26"/>
    <p:sldLayoutId id="2147484380" r:id="rId27"/>
    <p:sldLayoutId id="2147484381" r:id="rId28"/>
    <p:sldLayoutId id="2147484382" r:id="rId29"/>
    <p:sldLayoutId id="2147484383" r:id="rId30"/>
    <p:sldLayoutId id="2147484385" r:id="rId31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2" r:link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8975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87" r:id="rId1"/>
    <p:sldLayoutId id="2147484388" r:id="rId2"/>
    <p:sldLayoutId id="2147484389" r:id="rId3"/>
    <p:sldLayoutId id="2147484390" r:id="rId4"/>
    <p:sldLayoutId id="2147484391" r:id="rId5"/>
    <p:sldLayoutId id="2147484392" r:id="rId6"/>
    <p:sldLayoutId id="2147484393" r:id="rId7"/>
    <p:sldLayoutId id="2147484394" r:id="rId8"/>
    <p:sldLayoutId id="2147484395" r:id="rId9"/>
    <p:sldLayoutId id="2147484396" r:id="rId10"/>
    <p:sldLayoutId id="2147484397" r:id="rId11"/>
    <p:sldLayoutId id="2147484398" r:id="rId12"/>
    <p:sldLayoutId id="2147484399" r:id="rId13"/>
    <p:sldLayoutId id="2147484400" r:id="rId14"/>
    <p:sldLayoutId id="2147484401" r:id="rId15"/>
    <p:sldLayoutId id="2147484402" r:id="rId16"/>
    <p:sldLayoutId id="2147484403" r:id="rId17"/>
    <p:sldLayoutId id="2147484404" r:id="rId18"/>
    <p:sldLayoutId id="2147484405" r:id="rId19"/>
    <p:sldLayoutId id="2147484406" r:id="rId20"/>
    <p:sldLayoutId id="2147484407" r:id="rId21"/>
    <p:sldLayoutId id="2147484408" r:id="rId22"/>
    <p:sldLayoutId id="2147484409" r:id="rId23"/>
    <p:sldLayoutId id="2147484410" r:id="rId24"/>
    <p:sldLayoutId id="2147484411" r:id="rId25"/>
    <p:sldLayoutId id="2147484412" r:id="rId26"/>
    <p:sldLayoutId id="2147484413" r:id="rId27"/>
    <p:sldLayoutId id="2147484414" r:id="rId28"/>
    <p:sldLayoutId id="2147484415" r:id="rId29"/>
    <p:sldLayoutId id="2147484416" r:id="rId30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2" r:link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46569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18" r:id="rId1"/>
    <p:sldLayoutId id="2147484419" r:id="rId2"/>
    <p:sldLayoutId id="2147484420" r:id="rId3"/>
    <p:sldLayoutId id="2147484421" r:id="rId4"/>
    <p:sldLayoutId id="2147484422" r:id="rId5"/>
    <p:sldLayoutId id="2147484423" r:id="rId6"/>
    <p:sldLayoutId id="2147484424" r:id="rId7"/>
    <p:sldLayoutId id="2147484425" r:id="rId8"/>
    <p:sldLayoutId id="2147484426" r:id="rId9"/>
    <p:sldLayoutId id="2147484427" r:id="rId10"/>
    <p:sldLayoutId id="2147484428" r:id="rId11"/>
    <p:sldLayoutId id="2147484429" r:id="rId12"/>
    <p:sldLayoutId id="2147484430" r:id="rId13"/>
    <p:sldLayoutId id="2147484431" r:id="rId14"/>
    <p:sldLayoutId id="2147484432" r:id="rId15"/>
    <p:sldLayoutId id="2147484433" r:id="rId16"/>
    <p:sldLayoutId id="2147484434" r:id="rId17"/>
    <p:sldLayoutId id="2147484435" r:id="rId18"/>
    <p:sldLayoutId id="2147484436" r:id="rId19"/>
    <p:sldLayoutId id="2147484437" r:id="rId20"/>
    <p:sldLayoutId id="2147484438" r:id="rId21"/>
    <p:sldLayoutId id="2147484439" r:id="rId22"/>
    <p:sldLayoutId id="2147484440" r:id="rId23"/>
    <p:sldLayoutId id="2147484441" r:id="rId24"/>
    <p:sldLayoutId id="2147484442" r:id="rId25"/>
    <p:sldLayoutId id="2147484443" r:id="rId26"/>
    <p:sldLayoutId id="2147484444" r:id="rId27"/>
    <p:sldLayoutId id="2147484445" r:id="rId28"/>
    <p:sldLayoutId id="2147484446" r:id="rId29"/>
    <p:sldLayoutId id="2147484447" r:id="rId30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2" r:link="rId3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47123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84" r:id="rId1"/>
    <p:sldLayoutId id="2147484485" r:id="rId2"/>
    <p:sldLayoutId id="2147484486" r:id="rId3"/>
    <p:sldLayoutId id="2147484487" r:id="rId4"/>
    <p:sldLayoutId id="2147484488" r:id="rId5"/>
    <p:sldLayoutId id="2147484489" r:id="rId6"/>
    <p:sldLayoutId id="2147484490" r:id="rId7"/>
    <p:sldLayoutId id="2147484491" r:id="rId8"/>
    <p:sldLayoutId id="2147484492" r:id="rId9"/>
    <p:sldLayoutId id="2147484493" r:id="rId10"/>
    <p:sldLayoutId id="2147484494" r:id="rId11"/>
    <p:sldLayoutId id="2147484495" r:id="rId12"/>
    <p:sldLayoutId id="2147484496" r:id="rId13"/>
    <p:sldLayoutId id="2147484497" r:id="rId14"/>
    <p:sldLayoutId id="2147484498" r:id="rId15"/>
    <p:sldLayoutId id="2147484499" r:id="rId16"/>
    <p:sldLayoutId id="2147484500" r:id="rId17"/>
    <p:sldLayoutId id="2147484501" r:id="rId18"/>
    <p:sldLayoutId id="2147484502" r:id="rId19"/>
    <p:sldLayoutId id="2147484503" r:id="rId20"/>
    <p:sldLayoutId id="2147484504" r:id="rId21"/>
    <p:sldLayoutId id="2147484505" r:id="rId22"/>
    <p:sldLayoutId id="2147484506" r:id="rId23"/>
    <p:sldLayoutId id="2147484507" r:id="rId24"/>
    <p:sldLayoutId id="2147484508" r:id="rId25"/>
    <p:sldLayoutId id="2147484509" r:id="rId26"/>
    <p:sldLayoutId id="2147484510" r:id="rId27"/>
    <p:sldLayoutId id="2147484511" r:id="rId28"/>
    <p:sldLayoutId id="2147484512" r:id="rId29"/>
    <p:sldLayoutId id="2147484513" r:id="rId30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3" r:link="rId3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0944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15" r:id="rId1"/>
    <p:sldLayoutId id="2147484516" r:id="rId2"/>
    <p:sldLayoutId id="2147484517" r:id="rId3"/>
    <p:sldLayoutId id="2147484518" r:id="rId4"/>
    <p:sldLayoutId id="2147484519" r:id="rId5"/>
    <p:sldLayoutId id="2147484520" r:id="rId6"/>
    <p:sldLayoutId id="2147484521" r:id="rId7"/>
    <p:sldLayoutId id="2147484522" r:id="rId8"/>
    <p:sldLayoutId id="2147484523" r:id="rId9"/>
    <p:sldLayoutId id="2147484524" r:id="rId10"/>
    <p:sldLayoutId id="2147484525" r:id="rId11"/>
    <p:sldLayoutId id="2147484526" r:id="rId12"/>
    <p:sldLayoutId id="2147484527" r:id="rId13"/>
    <p:sldLayoutId id="2147484528" r:id="rId14"/>
    <p:sldLayoutId id="2147484529" r:id="rId15"/>
    <p:sldLayoutId id="2147484530" r:id="rId16"/>
    <p:sldLayoutId id="2147484531" r:id="rId17"/>
    <p:sldLayoutId id="2147484532" r:id="rId18"/>
    <p:sldLayoutId id="2147484533" r:id="rId19"/>
    <p:sldLayoutId id="2147484534" r:id="rId20"/>
    <p:sldLayoutId id="2147484535" r:id="rId21"/>
    <p:sldLayoutId id="2147484536" r:id="rId22"/>
    <p:sldLayoutId id="2147484537" r:id="rId23"/>
    <p:sldLayoutId id="2147484538" r:id="rId24"/>
    <p:sldLayoutId id="2147484539" r:id="rId25"/>
    <p:sldLayoutId id="2147484540" r:id="rId26"/>
    <p:sldLayoutId id="2147484541" r:id="rId27"/>
    <p:sldLayoutId id="2147484542" r:id="rId28"/>
    <p:sldLayoutId id="2147484543" r:id="rId29"/>
    <p:sldLayoutId id="2147484544" r:id="rId30"/>
    <p:sldLayoutId id="2147484545" r:id="rId31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Helvetica Light" panose="020B0403020202020204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Helvetica Light" panose="020B0403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2" r:link="rId3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29970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80" r:id="rId1"/>
    <p:sldLayoutId id="2147484581" r:id="rId2"/>
    <p:sldLayoutId id="2147484582" r:id="rId3"/>
    <p:sldLayoutId id="2147484583" r:id="rId4"/>
    <p:sldLayoutId id="2147484584" r:id="rId5"/>
    <p:sldLayoutId id="2147484585" r:id="rId6"/>
    <p:sldLayoutId id="2147484586" r:id="rId7"/>
    <p:sldLayoutId id="2147484587" r:id="rId8"/>
    <p:sldLayoutId id="2147484588" r:id="rId9"/>
    <p:sldLayoutId id="2147484589" r:id="rId10"/>
    <p:sldLayoutId id="2147484590" r:id="rId11"/>
    <p:sldLayoutId id="2147484591" r:id="rId12"/>
    <p:sldLayoutId id="2147484592" r:id="rId13"/>
    <p:sldLayoutId id="2147484593" r:id="rId14"/>
    <p:sldLayoutId id="2147484594" r:id="rId15"/>
    <p:sldLayoutId id="2147484595" r:id="rId16"/>
    <p:sldLayoutId id="2147484596" r:id="rId17"/>
    <p:sldLayoutId id="2147484597" r:id="rId18"/>
    <p:sldLayoutId id="2147484598" r:id="rId19"/>
    <p:sldLayoutId id="2147484599" r:id="rId20"/>
    <p:sldLayoutId id="2147484600" r:id="rId21"/>
    <p:sldLayoutId id="2147484601" r:id="rId22"/>
    <p:sldLayoutId id="2147484602" r:id="rId23"/>
    <p:sldLayoutId id="2147484603" r:id="rId24"/>
    <p:sldLayoutId id="2147484604" r:id="rId25"/>
    <p:sldLayoutId id="2147484605" r:id="rId26"/>
    <p:sldLayoutId id="2147484606" r:id="rId27"/>
    <p:sldLayoutId id="2147484607" r:id="rId28"/>
    <p:sldLayoutId id="2147484608" r:id="rId29"/>
    <p:sldLayoutId id="2147484609" r:id="rId30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 userDrawn="1"/>
        </p:nvSpPr>
        <p:spPr>
          <a:xfrm>
            <a:off x="11409307" y="6313586"/>
            <a:ext cx="933213" cy="2974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999E95D-CC5B-A848-8A23-71793272A142}" type="slidenum">
              <a:rPr kumimoji="0" lang="en-US" sz="1333" b="1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pPr marL="0" marR="0" lvl="0" indent="0" algn="ctr" defTabSz="609585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333" b="1" i="0" u="none" strike="noStrike" kern="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2" name="TextBox 1"/>
          <p:cNvSpPr txBox="1"/>
          <p:nvPr userDrawn="1"/>
        </p:nvSpPr>
        <p:spPr>
          <a:xfrm>
            <a:off x="302685" y="6581678"/>
            <a:ext cx="2182649" cy="184666"/>
          </a:xfrm>
          <a:prstGeom prst="rect">
            <a:avLst/>
          </a:prstGeom>
          <a:noFill/>
        </p:spPr>
        <p:txBody>
          <a:bodyPr wrap="none" lIns="0" rtlCol="0">
            <a:spAutoFit/>
          </a:bodyPr>
          <a:lstStyle/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rris Insights &amp; Analytics LLC, A </a:t>
            </a:r>
            <a:r>
              <a:rPr kumimoji="0" lang="en-US" sz="600" b="0" i="0" u="none" strike="noStrike" kern="1200" cap="none" spc="0" normalizeH="0" baseline="0" noProof="0" err="1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tagwell</a:t>
            </a: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Company © 2024</a:t>
            </a:r>
          </a:p>
        </p:txBody>
      </p:sp>
      <p:cxnSp>
        <p:nvCxnSpPr>
          <p:cNvPr id="5" name="Straight Connector 4"/>
          <p:cNvCxnSpPr/>
          <p:nvPr userDrawn="1"/>
        </p:nvCxnSpPr>
        <p:spPr>
          <a:xfrm>
            <a:off x="308395" y="198255"/>
            <a:ext cx="11278239" cy="0"/>
          </a:xfrm>
          <a:prstGeom prst="line">
            <a:avLst/>
          </a:prstGeom>
          <a:ln w="6350" cmpd="sng"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6" name="logo.png" descr="/Users/Houman/Dropbox (ETC)/the harris poll/Design/Final/PPT/assets/logo.png"/>
          <p:cNvPicPr>
            <a:picLocks noChangeAspect="1"/>
          </p:cNvPicPr>
          <p:nvPr userDrawn="1"/>
        </p:nvPicPr>
        <p:blipFill rotWithShape="1">
          <a:blip r:embed="rId34" r:link="rId3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149" t="-1" r="6730" b="5018"/>
          <a:stretch>
            <a:fillRect/>
          </a:stretch>
        </p:blipFill>
        <p:spPr>
          <a:xfrm>
            <a:off x="11731853" y="311151"/>
            <a:ext cx="295705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9565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11" r:id="rId1"/>
    <p:sldLayoutId id="2147484612" r:id="rId2"/>
    <p:sldLayoutId id="2147484613" r:id="rId3"/>
    <p:sldLayoutId id="2147484614" r:id="rId4"/>
    <p:sldLayoutId id="2147484615" r:id="rId5"/>
    <p:sldLayoutId id="2147484616" r:id="rId6"/>
    <p:sldLayoutId id="2147484617" r:id="rId7"/>
    <p:sldLayoutId id="2147484618" r:id="rId8"/>
    <p:sldLayoutId id="2147484619" r:id="rId9"/>
    <p:sldLayoutId id="2147484620" r:id="rId10"/>
    <p:sldLayoutId id="2147484621" r:id="rId11"/>
    <p:sldLayoutId id="2147484622" r:id="rId12"/>
    <p:sldLayoutId id="2147484623" r:id="rId13"/>
    <p:sldLayoutId id="2147484624" r:id="rId14"/>
    <p:sldLayoutId id="2147484625" r:id="rId15"/>
    <p:sldLayoutId id="2147484626" r:id="rId16"/>
    <p:sldLayoutId id="2147484627" r:id="rId17"/>
    <p:sldLayoutId id="2147484628" r:id="rId18"/>
    <p:sldLayoutId id="2147484629" r:id="rId19"/>
    <p:sldLayoutId id="2147484630" r:id="rId20"/>
    <p:sldLayoutId id="2147484631" r:id="rId21"/>
    <p:sldLayoutId id="2147484632" r:id="rId22"/>
    <p:sldLayoutId id="2147484633" r:id="rId23"/>
    <p:sldLayoutId id="2147484634" r:id="rId24"/>
    <p:sldLayoutId id="2147484635" r:id="rId25"/>
    <p:sldLayoutId id="2147484636" r:id="rId26"/>
    <p:sldLayoutId id="2147484637" r:id="rId27"/>
    <p:sldLayoutId id="2147484638" r:id="rId28"/>
    <p:sldLayoutId id="2147484639" r:id="rId29"/>
    <p:sldLayoutId id="2147484640" r:id="rId30"/>
    <p:sldLayoutId id="2147484642" r:id="rId31"/>
    <p:sldLayoutId id="2147484643" r:id="rId32"/>
  </p:sldLayoutIdLst>
  <p:hf hdr="0"/>
  <p:txStyles>
    <p:titleStyle>
      <a:lvl1pPr algn="l" defTabSz="609585" rtl="0" eaLnBrk="1" latinLnBrk="0" hangingPunct="1">
        <a:spcBef>
          <a:spcPct val="0"/>
        </a:spcBef>
        <a:buNone/>
        <a:defRPr sz="2400" kern="1200">
          <a:solidFill>
            <a:schemeClr val="tx1"/>
          </a:solidFill>
          <a:latin typeface="Arial" charset="0"/>
          <a:ea typeface="Arial" charset="0"/>
          <a:cs typeface="Arial" charset="0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b="0" kern="1200" cap="none" spc="0">
          <a:ln>
            <a:noFill/>
          </a:ln>
          <a:solidFill>
            <a:schemeClr val="tx1"/>
          </a:solidFill>
          <a:effectLst/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chart" Target="../charts/chart9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svg"/><Relationship Id="rId3" Type="http://schemas.openxmlformats.org/officeDocument/2006/relationships/chart" Target="../charts/chart11.xml"/><Relationship Id="rId7" Type="http://schemas.openxmlformats.org/officeDocument/2006/relationships/image" Target="../media/image50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9.svg"/><Relationship Id="rId5" Type="http://schemas.openxmlformats.org/officeDocument/2006/relationships/image" Target="../media/image48.png"/><Relationship Id="rId4" Type="http://schemas.openxmlformats.org/officeDocument/2006/relationships/chart" Target="../charts/chart1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chart" Target="../charts/chart13.xml"/><Relationship Id="rId1" Type="http://schemas.openxmlformats.org/officeDocument/2006/relationships/slideLayout" Target="../slideLayouts/slideLayout1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7" Type="http://schemas.openxmlformats.org/officeDocument/2006/relationships/image" Target="../media/image51.svg"/><Relationship Id="rId2" Type="http://schemas.openxmlformats.org/officeDocument/2006/relationships/chart" Target="../charts/chart1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chart" Target="../charts/chart17.xml"/><Relationship Id="rId1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7" Type="http://schemas.openxmlformats.org/officeDocument/2006/relationships/image" Target="../media/image51.svg"/><Relationship Id="rId2" Type="http://schemas.openxmlformats.org/officeDocument/2006/relationships/chart" Target="../charts/chart1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chart" Target="../charts/chart2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hdphoto" Target="../media/hdphoto3.wdp"/><Relationship Id="rId3" Type="http://schemas.openxmlformats.org/officeDocument/2006/relationships/image" Target="../media/image32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6" Type="http://schemas.microsoft.com/office/2007/relationships/hdphoto" Target="../media/hdphoto2.wdp"/><Relationship Id="rId5" Type="http://schemas.openxmlformats.org/officeDocument/2006/relationships/image" Target="../media/image33.png"/><Relationship Id="rId10" Type="http://schemas.microsoft.com/office/2007/relationships/hdphoto" Target="../media/hdphoto4.wdp"/><Relationship Id="rId4" Type="http://schemas.microsoft.com/office/2007/relationships/hdphoto" Target="../media/hdphoto1.wdp"/><Relationship Id="rId9" Type="http://schemas.openxmlformats.org/officeDocument/2006/relationships/image" Target="../media/image3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7" Type="http://schemas.openxmlformats.org/officeDocument/2006/relationships/image" Target="../media/image51.svg"/><Relationship Id="rId2" Type="http://schemas.openxmlformats.org/officeDocument/2006/relationships/chart" Target="../charts/chart2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0.png"/><Relationship Id="rId5" Type="http://schemas.openxmlformats.org/officeDocument/2006/relationships/image" Target="../media/image49.svg"/><Relationship Id="rId4" Type="http://schemas.openxmlformats.org/officeDocument/2006/relationships/image" Target="../media/image4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chart" Target="../charts/chart25.xml"/><Relationship Id="rId1" Type="http://schemas.openxmlformats.org/officeDocument/2006/relationships/slideLayout" Target="../slideLayouts/slideLayout1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8.xml"/><Relationship Id="rId2" Type="http://schemas.openxmlformats.org/officeDocument/2006/relationships/chart" Target="../charts/chart27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9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0.xml"/><Relationship Id="rId1" Type="http://schemas.openxmlformats.org/officeDocument/2006/relationships/slideLayout" Target="../slideLayouts/slide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1.xml"/><Relationship Id="rId1" Type="http://schemas.openxmlformats.org/officeDocument/2006/relationships/slideLayout" Target="../slideLayouts/slideLayout1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chart" Target="../charts/chart32.xml"/><Relationship Id="rId1" Type="http://schemas.openxmlformats.org/officeDocument/2006/relationships/slideLayout" Target="../slideLayouts/slideLayout1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chart" Target="../charts/chart35.xml"/><Relationship Id="rId1" Type="http://schemas.openxmlformats.org/officeDocument/2006/relationships/slideLayout" Target="../slideLayouts/slideLayout1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svg"/><Relationship Id="rId3" Type="http://schemas.openxmlformats.org/officeDocument/2006/relationships/image" Target="../media/image52.png"/><Relationship Id="rId7" Type="http://schemas.openxmlformats.org/officeDocument/2006/relationships/image" Target="../media/image56.png"/><Relationship Id="rId12" Type="http://schemas.openxmlformats.org/officeDocument/2006/relationships/image" Target="../media/image61.sv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5.svg"/><Relationship Id="rId11" Type="http://schemas.openxmlformats.org/officeDocument/2006/relationships/image" Target="../media/image60.png"/><Relationship Id="rId5" Type="http://schemas.openxmlformats.org/officeDocument/2006/relationships/image" Target="../media/image54.png"/><Relationship Id="rId10" Type="http://schemas.openxmlformats.org/officeDocument/2006/relationships/image" Target="../media/image59.svg"/><Relationship Id="rId4" Type="http://schemas.openxmlformats.org/officeDocument/2006/relationships/image" Target="../media/image53.svg"/><Relationship Id="rId9" Type="http://schemas.openxmlformats.org/officeDocument/2006/relationships/image" Target="../media/image58.png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jpeg"/><Relationship Id="rId7" Type="http://schemas.openxmlformats.org/officeDocument/2006/relationships/image" Target="../media/image67.jpeg"/><Relationship Id="rId2" Type="http://schemas.openxmlformats.org/officeDocument/2006/relationships/image" Target="../media/image62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6.jpeg"/><Relationship Id="rId5" Type="http://schemas.openxmlformats.org/officeDocument/2006/relationships/image" Target="../media/image65.jpeg"/><Relationship Id="rId4" Type="http://schemas.openxmlformats.org/officeDocument/2006/relationships/image" Target="../media/image64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68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image" Target="../media/image70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image" Target="../media/image73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7.jpeg"/><Relationship Id="rId5" Type="http://schemas.openxmlformats.org/officeDocument/2006/relationships/image" Target="../media/image76.jpeg"/><Relationship Id="rId4" Type="http://schemas.openxmlformats.org/officeDocument/2006/relationships/image" Target="../media/image75.jpeg"/></Relationships>
</file>

<file path=ppt/slides/_rels/slide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png"/><Relationship Id="rId1" Type="http://schemas.openxmlformats.org/officeDocument/2006/relationships/slideLayout" Target="../slideLayouts/slideLayout309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13" Type="http://schemas.openxmlformats.org/officeDocument/2006/relationships/image" Target="../media/image47.svg"/><Relationship Id="rId3" Type="http://schemas.openxmlformats.org/officeDocument/2006/relationships/image" Target="../media/image37.svg"/><Relationship Id="rId7" Type="http://schemas.openxmlformats.org/officeDocument/2006/relationships/image" Target="../media/image41.svg"/><Relationship Id="rId12" Type="http://schemas.openxmlformats.org/officeDocument/2006/relationships/image" Target="../media/image46.png"/><Relationship Id="rId2" Type="http://schemas.openxmlformats.org/officeDocument/2006/relationships/image" Target="../media/image36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11" Type="http://schemas.openxmlformats.org/officeDocument/2006/relationships/image" Target="../media/image45.svg"/><Relationship Id="rId5" Type="http://schemas.openxmlformats.org/officeDocument/2006/relationships/image" Target="../media/image39.svg"/><Relationship Id="rId10" Type="http://schemas.openxmlformats.org/officeDocument/2006/relationships/image" Target="../media/image44.png"/><Relationship Id="rId4" Type="http://schemas.openxmlformats.org/officeDocument/2006/relationships/image" Target="../media/image38.png"/><Relationship Id="rId9" Type="http://schemas.openxmlformats.org/officeDocument/2006/relationships/image" Target="../media/image43.sv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chart" Target="../charts/char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-1" descr="orlink:ORRange2@Data!$B$49:$B$50€0€0€€0€0€0€0€€0"/>
          <p:cNvSpPr>
            <a:spLocks noGrp="1"/>
          </p:cNvSpPr>
          <p:nvPr>
            <p:ph type="ctrTitle"/>
          </p:nvPr>
        </p:nvSpPr>
        <p:spPr>
          <a:xfrm>
            <a:off x="131872" y="2503969"/>
            <a:ext cx="11548064" cy="1850062"/>
          </a:xfrm>
        </p:spPr>
        <p:txBody>
          <a:bodyPr/>
          <a:lstStyle/>
          <a:p>
            <a:r>
              <a:rPr lang="en-US" sz="4400" b="0"/>
              <a:t>The Effectiveness of Digital OOH Advertising</a:t>
            </a:r>
            <a:endParaRPr lang="en-US" sz="1600" b="0"/>
          </a:p>
        </p:txBody>
      </p:sp>
      <p:graphicFrame>
        <p:nvGraphicFramePr>
          <p:cNvPr id="6" name="Table-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60434869"/>
              </p:ext>
            </p:extLst>
          </p:nvPr>
        </p:nvGraphicFramePr>
        <p:xfrm>
          <a:off x="1359862" y="5526237"/>
          <a:ext cx="2669971" cy="48768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66997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32005">
                <a:tc>
                  <a:txBody>
                    <a:bodyPr/>
                    <a:lstStyle/>
                    <a:p>
                      <a:r>
                        <a:rPr lang="en-US" sz="2400" b="0" i="0">
                          <a:solidFill>
                            <a:schemeClr val="tx1"/>
                          </a:solidFill>
                          <a:latin typeface="+mj-lt"/>
                        </a:rPr>
                        <a:t>May 2024</a:t>
                      </a:r>
                    </a:p>
                  </a:txBody>
                  <a:tcPr marL="121920" marR="121920" marT="60960" marB="6096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4" name="Picture 3" descr="A picture containing drawing&#10;&#10;Description automatically generated">
            <a:extLst>
              <a:ext uri="{FF2B5EF4-FFF2-40B4-BE49-F238E27FC236}">
                <a16:creationId xmlns:a16="http://schemas.microsoft.com/office/drawing/2014/main" id="{1269CC77-0E84-48DC-AD86-A337B9D1661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10423" y="5176925"/>
            <a:ext cx="3680366" cy="118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461826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49" y="518160"/>
            <a:ext cx="11483300" cy="433739"/>
          </a:xfrm>
        </p:spPr>
        <p:txBody>
          <a:bodyPr/>
          <a:lstStyle/>
          <a:p>
            <a:r>
              <a:rPr lang="en-US"/>
              <a:t>Digital OOH ads generated action among three in four recent viewer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Watching an advertised show or visiting a restaurant were the top actions generated. 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Younger generations, transit users, and large urban residents are the most likely to act.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6159776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defTabSz="914377"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HAS SEEN ANY DOOH AD IN P3M (n=807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0. Have you done any of the following after seeing any form of digital out-of-home advertising in the past three months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2CDFE8-341C-4B40-E4AB-A1A399224882}"/>
              </a:ext>
            </a:extLst>
          </p:cNvPr>
          <p:cNvSpPr txBox="1"/>
          <p:nvPr/>
        </p:nvSpPr>
        <p:spPr>
          <a:xfrm>
            <a:off x="4328532" y="1665613"/>
            <a:ext cx="3889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ctions Taken in Past 3 Months</a:t>
            </a:r>
            <a:endParaRPr lang="en-US" sz="1200" i="1"/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DBAF7470-71DA-87CA-3A22-282F02748A2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7993259"/>
              </p:ext>
            </p:extLst>
          </p:nvPr>
        </p:nvGraphicFramePr>
        <p:xfrm>
          <a:off x="-19836" y="2341879"/>
          <a:ext cx="7440740" cy="3542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4DE2932A-8A3B-AD70-C7EB-3B973F963CD8}"/>
              </a:ext>
            </a:extLst>
          </p:cNvPr>
          <p:cNvSpPr txBox="1"/>
          <p:nvPr/>
        </p:nvSpPr>
        <p:spPr>
          <a:xfrm>
            <a:off x="4635146" y="1874656"/>
            <a:ext cx="3276600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/>
              <a:t>Among those who have seen any DOOH ad in P3M</a:t>
            </a:r>
            <a:endParaRPr lang="en-US" sz="100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499DADB-75E7-8562-7A7D-490E475EB812}"/>
              </a:ext>
            </a:extLst>
          </p:cNvPr>
          <p:cNvSpPr txBox="1"/>
          <p:nvPr/>
        </p:nvSpPr>
        <p:spPr>
          <a:xfrm>
            <a:off x="8447240" y="2291694"/>
            <a:ext cx="2423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US"/>
              <a:t>% Any Action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4D0CE22-6A5B-CAAD-0BCF-99293C0C7CAB}"/>
              </a:ext>
            </a:extLst>
          </p:cNvPr>
          <p:cNvSpPr txBox="1"/>
          <p:nvPr/>
        </p:nvSpPr>
        <p:spPr>
          <a:xfrm>
            <a:off x="8873667" y="5852147"/>
            <a:ext cx="1859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*</a:t>
            </a:r>
            <a:r>
              <a:rPr lang="en-US" sz="900"/>
              <a:t> </a:t>
            </a:r>
            <a:r>
              <a:rPr lang="en-US" sz="900" b="1"/>
              <a:t>Past Month</a:t>
            </a:r>
          </a:p>
          <a:p>
            <a:r>
              <a:rPr lang="en-US" sz="900" b="1"/>
              <a:t>** Past 12 Month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38A63EF-ECA3-B015-A7C7-9D393AABC1B1}"/>
              </a:ext>
            </a:extLst>
          </p:cNvPr>
          <p:cNvGraphicFramePr/>
          <p:nvPr/>
        </p:nvGraphicFramePr>
        <p:xfrm>
          <a:off x="7095731" y="2531076"/>
          <a:ext cx="3889830" cy="3250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136797289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OOH ads generated mobile device actions with three in four recent viewers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6174323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SMARTPHONE USERS WHO HAVE SEEN ANY DOOH IN P3M (n=</a:t>
            </a:r>
            <a:r>
              <a:rPr lang="en-US" sz="800" u="sng">
                <a:solidFill>
                  <a:srgbClr val="939598"/>
                </a:solidFill>
                <a:latin typeface="Arial" panose="020B0604020202020204"/>
              </a:rPr>
              <a:t>739</a:t>
            </a: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1. Have you done any of the following on your smartphone or mobile device after seeing any form of digital out-of-home advertising in the past three months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2CDFE8-341C-4B40-E4AB-A1A399224882}"/>
              </a:ext>
            </a:extLst>
          </p:cNvPr>
          <p:cNvSpPr txBox="1"/>
          <p:nvPr/>
        </p:nvSpPr>
        <p:spPr>
          <a:xfrm>
            <a:off x="4328532" y="1665613"/>
            <a:ext cx="3889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ctions Taken in Past 3 Months</a:t>
            </a:r>
            <a:endParaRPr lang="en-US" sz="1200" i="1"/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32EA28D6-B377-79DF-8CD9-468FED236B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370199443"/>
              </p:ext>
            </p:extLst>
          </p:nvPr>
        </p:nvGraphicFramePr>
        <p:xfrm>
          <a:off x="-419100" y="2264147"/>
          <a:ext cx="8723186" cy="38985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DB0DE6C8-ED2B-39BD-3502-BF04C0CC32F1}"/>
              </a:ext>
            </a:extLst>
          </p:cNvPr>
          <p:cNvSpPr txBox="1"/>
          <p:nvPr/>
        </p:nvSpPr>
        <p:spPr>
          <a:xfrm>
            <a:off x="4328532" y="1874656"/>
            <a:ext cx="4084745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/>
              <a:t>Among smartphone users who have seen any DOOH ad in P3M</a:t>
            </a:r>
            <a:endParaRPr lang="en-US" sz="100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E050969D-6803-BCE3-E8CF-4C916382792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8652869"/>
              </p:ext>
            </p:extLst>
          </p:nvPr>
        </p:nvGraphicFramePr>
        <p:xfrm>
          <a:off x="7292899" y="2430193"/>
          <a:ext cx="3980984" cy="347590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33D054D9-FE32-5566-2FA8-237D2305AD5B}"/>
              </a:ext>
            </a:extLst>
          </p:cNvPr>
          <p:cNvSpPr txBox="1"/>
          <p:nvPr/>
        </p:nvSpPr>
        <p:spPr>
          <a:xfrm>
            <a:off x="8447240" y="2291694"/>
            <a:ext cx="242359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US"/>
              <a:t>% Any Action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705520E-5923-5C88-ABB4-12E06017C7BE}"/>
              </a:ext>
            </a:extLst>
          </p:cNvPr>
          <p:cNvSpPr txBox="1"/>
          <p:nvPr/>
        </p:nvSpPr>
        <p:spPr>
          <a:xfrm>
            <a:off x="9074389" y="5906100"/>
            <a:ext cx="1859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*</a:t>
            </a:r>
            <a:r>
              <a:rPr lang="en-US" sz="900"/>
              <a:t> </a:t>
            </a:r>
            <a:r>
              <a:rPr lang="en-US" sz="900" b="1"/>
              <a:t>Past Month</a:t>
            </a:r>
          </a:p>
          <a:p>
            <a:r>
              <a:rPr lang="en-US" sz="900" b="1"/>
              <a:t>** Past 12 Months</a:t>
            </a:r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955CA90C-28EB-2202-9FB2-C5D39D996E47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449" y="951900"/>
            <a:ext cx="11403471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Online search or advertiser website visitation are the top mobile device actions generated.   </a:t>
            </a:r>
            <a:br>
              <a:rPr lang="en-US" b="1">
                <a:solidFill>
                  <a:schemeClr val="accent1"/>
                </a:solidFill>
              </a:rPr>
            </a:br>
            <a:r>
              <a:rPr lang="en-US" b="1">
                <a:solidFill>
                  <a:schemeClr val="accent1"/>
                </a:solidFill>
              </a:rPr>
              <a:t>Younger generations and transit users are the most likely to act on their device.</a:t>
            </a:r>
          </a:p>
        </p:txBody>
      </p:sp>
    </p:spTree>
    <p:extLst>
      <p:ext uri="{BB962C8B-B14F-4D97-AF65-F5344CB8AC3E}">
        <p14:creationId xmlns:p14="http://schemas.microsoft.com/office/powerpoint/2010/main" val="183126422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49" y="518160"/>
            <a:ext cx="11618311" cy="433739"/>
          </a:xfrm>
        </p:spPr>
        <p:txBody>
          <a:bodyPr/>
          <a:lstStyle/>
          <a:p>
            <a:r>
              <a:rPr lang="en-US" dirty="0"/>
              <a:t>77% of consumers noticed DOOH ads when making purchases inside businesse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447" y="1025697"/>
            <a:ext cx="11403471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Younger generations and transit users report the highest likelihood to notice these ads. 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6079979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 (n=928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30 How often do you notice advertising messages on digital signage or video screens when you are making a purchase inside a place of business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2CDFE8-341C-4B40-E4AB-A1A399224882}"/>
              </a:ext>
            </a:extLst>
          </p:cNvPr>
          <p:cNvSpPr txBox="1"/>
          <p:nvPr/>
        </p:nvSpPr>
        <p:spPr>
          <a:xfrm>
            <a:off x="3383339" y="1733497"/>
            <a:ext cx="47067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How Often Digital Signage and Video Screens Are Noticed In Places of Business</a:t>
            </a:r>
          </a:p>
          <a:p>
            <a:pPr algn="ctr"/>
            <a:r>
              <a:rPr lang="en-US" sz="1050" i="1"/>
              <a:t>Among those who have ever seen any DOOH ad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49BA5B6-58C4-A394-5D32-CB9B2F8EF1FE}"/>
              </a:ext>
            </a:extLst>
          </p:cNvPr>
          <p:cNvSpPr txBox="1"/>
          <p:nvPr/>
        </p:nvSpPr>
        <p:spPr>
          <a:xfrm>
            <a:off x="7905698" y="2241328"/>
            <a:ext cx="3407763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US"/>
              <a:t>% Notice All/Most of the Time/Sometime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EB1F05F-AFBD-65AF-ECC4-F7B2485777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146302045"/>
              </p:ext>
            </p:extLst>
          </p:nvPr>
        </p:nvGraphicFramePr>
        <p:xfrm>
          <a:off x="418629" y="1965530"/>
          <a:ext cx="4691324" cy="44925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1" name="TextBox 10">
            <a:extLst>
              <a:ext uri="{FF2B5EF4-FFF2-40B4-BE49-F238E27FC236}">
                <a16:creationId xmlns:a16="http://schemas.microsoft.com/office/drawing/2014/main" id="{CD8CA22F-CAEE-5981-486E-AC4C62171202}"/>
              </a:ext>
            </a:extLst>
          </p:cNvPr>
          <p:cNvSpPr txBox="1"/>
          <p:nvPr/>
        </p:nvSpPr>
        <p:spPr>
          <a:xfrm>
            <a:off x="3383339" y="3136731"/>
            <a:ext cx="1957588" cy="584775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 sz="1200" b="1">
                <a:solidFill>
                  <a:schemeClr val="accent1">
                    <a:lumMod val="50000"/>
                  </a:schemeClr>
                </a:solidFill>
              </a:rPr>
              <a:t>77% </a:t>
            </a:r>
          </a:p>
          <a:p>
            <a:r>
              <a:rPr lang="en-US" sz="1000" b="1"/>
              <a:t>All/Most of the time/Sometimes NET</a:t>
            </a:r>
            <a:endParaRPr lang="en-US" sz="1000" b="1">
              <a:cs typeface="Arial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7D76BD4-3B72-3607-C9F0-4706C4DC97EA}"/>
              </a:ext>
            </a:extLst>
          </p:cNvPr>
          <p:cNvSpPr txBox="1"/>
          <p:nvPr/>
        </p:nvSpPr>
        <p:spPr>
          <a:xfrm>
            <a:off x="3348271" y="5123358"/>
            <a:ext cx="195758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bg1">
                    <a:lumMod val="50000"/>
                  </a:schemeClr>
                </a:solidFill>
              </a:rPr>
              <a:t>24% </a:t>
            </a:r>
          </a:p>
          <a:p>
            <a:r>
              <a:rPr lang="en-US" sz="1000" b="1"/>
              <a:t>Never/Rarely NE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D718A9B-C06A-5BAA-6FB1-4CD7ED3A01A3}"/>
              </a:ext>
            </a:extLst>
          </p:cNvPr>
          <p:cNvSpPr txBox="1"/>
          <p:nvPr/>
        </p:nvSpPr>
        <p:spPr>
          <a:xfrm>
            <a:off x="8848776" y="6088785"/>
            <a:ext cx="1859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*</a:t>
            </a:r>
            <a:r>
              <a:rPr lang="en-US" sz="900"/>
              <a:t> </a:t>
            </a:r>
            <a:r>
              <a:rPr lang="en-US" sz="900" b="1"/>
              <a:t>Past Month</a:t>
            </a:r>
          </a:p>
          <a:p>
            <a:r>
              <a:rPr lang="en-US" sz="900" b="1"/>
              <a:t>** Past 12 Months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0249E8B3-EF70-E782-FB79-7458F761C30D}"/>
              </a:ext>
            </a:extLst>
          </p:cNvPr>
          <p:cNvGraphicFramePr/>
          <p:nvPr/>
        </p:nvGraphicFramePr>
        <p:xfrm>
          <a:off x="7082049" y="2531076"/>
          <a:ext cx="3903512" cy="3580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750340518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84FA0A4-9D8E-0E4B-AD09-CC92AC4C9EDE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 anchor="ctr"/>
          <a:lstStyle/>
          <a:p>
            <a:r>
              <a:rPr lang="en-US" sz="4800"/>
              <a:t>DOOH Category Deep Dive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133692013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Chart 34">
            <a:extLst>
              <a:ext uri="{FF2B5EF4-FFF2-40B4-BE49-F238E27FC236}">
                <a16:creationId xmlns:a16="http://schemas.microsoft.com/office/drawing/2014/main" id="{A3B886EB-AF9E-BD77-DFB5-4EF21E4C072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1853324"/>
              </p:ext>
            </p:extLst>
          </p:nvPr>
        </p:nvGraphicFramePr>
        <p:xfrm>
          <a:off x="368320" y="2543588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B8DA7BA4-A11E-8426-68C0-E04ADD5456E0}"/>
              </a:ext>
            </a:extLst>
          </p:cNvPr>
          <p:cNvSpPr/>
          <p:nvPr/>
        </p:nvSpPr>
        <p:spPr>
          <a:xfrm>
            <a:off x="6275354" y="3621813"/>
            <a:ext cx="4379313" cy="2526286"/>
          </a:xfrm>
          <a:prstGeom prst="rect">
            <a:avLst/>
          </a:prstGeom>
          <a:solidFill>
            <a:srgbClr val="C2FFF0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8F07BB5-2852-EA88-EDE9-5308F5520348}"/>
              </a:ext>
            </a:extLst>
          </p:cNvPr>
          <p:cNvSpPr/>
          <p:nvPr/>
        </p:nvSpPr>
        <p:spPr>
          <a:xfrm>
            <a:off x="3544785" y="1374365"/>
            <a:ext cx="4752747" cy="1826036"/>
          </a:xfrm>
          <a:prstGeom prst="rect">
            <a:avLst/>
          </a:prstGeom>
          <a:solidFill>
            <a:srgbClr val="C2FFF0">
              <a:alpha val="50196"/>
            </a:srgb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B4C68277-E581-CD2E-A5F9-44043FEAD2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246748854"/>
              </p:ext>
            </p:extLst>
          </p:nvPr>
        </p:nvGraphicFramePr>
        <p:xfrm>
          <a:off x="5151588" y="2818913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 Category Deep Dive: Digital Billboard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49" y="518160"/>
            <a:ext cx="11837104" cy="433739"/>
          </a:xfrm>
        </p:spPr>
        <p:txBody>
          <a:bodyPr/>
          <a:lstStyle/>
          <a:p>
            <a:r>
              <a:rPr lang="en-US"/>
              <a:t>Over 60% of consumers have recently noticed a digital billboard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449" y="951900"/>
            <a:ext cx="11837104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Almost 80% notice digital billboards on their way to in-store shopping and over half say digital billboards impact their in-person purchasing decisions.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6" y="5847458"/>
            <a:ext cx="110783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ALL QUALIFIED RESPONDENTS (n=1,023)</a:t>
            </a:r>
          </a:p>
          <a:p>
            <a:pPr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15 When was the last time you noticed advertising in each of the following types of digital out-of-home formats or locations?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00 Which of the following advertisement formats or locations do you find favorable? 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EXCLUDING NOT SURE (n=905)</a:t>
            </a: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20 How often do you notice digital out-of-home advertising messages in each of the following types of formats or environments when you are on your way to a store or just outside a store to shop in-person?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(n=917)</a:t>
            </a:r>
            <a:endParaRPr lang="en-US" sz="600">
              <a:solidFill>
                <a:srgbClr val="939598"/>
              </a:solidFill>
              <a:latin typeface="Arial" panose="020B0604020202020204"/>
            </a:endParaRP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35 How much of an impact, if any, do advertisements in each of the following types of digital formats have on your purchase decisions when shopping in-person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503F6D-8948-BD9F-EB26-50E89016B2C1}"/>
              </a:ext>
            </a:extLst>
          </p:cNvPr>
          <p:cNvSpPr txBox="1"/>
          <p:nvPr/>
        </p:nvSpPr>
        <p:spPr>
          <a:xfrm>
            <a:off x="3856334" y="1480545"/>
            <a:ext cx="4045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</a:t>
            </a:r>
            <a:r>
              <a:rPr lang="en-US" sz="1200" b="1" u="sng"/>
              <a:t>Digital Billboar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06ABB3-5690-A321-B883-E2D6907FB978}"/>
              </a:ext>
            </a:extLst>
          </p:cNvPr>
          <p:cNvSpPr txBox="1"/>
          <p:nvPr/>
        </p:nvSpPr>
        <p:spPr>
          <a:xfrm>
            <a:off x="5497983" y="1809013"/>
            <a:ext cx="25415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accent1"/>
                </a:solidFill>
              </a:rPr>
              <a:t>62% </a:t>
            </a:r>
            <a:r>
              <a:rPr lang="en-US" sz="1200"/>
              <a:t>in the </a:t>
            </a:r>
            <a:r>
              <a:rPr lang="en-US" sz="1200" b="1"/>
              <a:t>past 3 months</a:t>
            </a:r>
          </a:p>
          <a:p>
            <a:endParaRPr lang="en-US" sz="1200" b="1"/>
          </a:p>
          <a:p>
            <a:r>
              <a:rPr lang="en-US" sz="1600" b="1">
                <a:solidFill>
                  <a:schemeClr val="accent1"/>
                </a:solidFill>
              </a:rPr>
              <a:t>48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past mon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/>
          </a:p>
          <a:p>
            <a:r>
              <a:rPr lang="en-US" sz="1600" b="1">
                <a:solidFill>
                  <a:schemeClr val="accent1"/>
                </a:solidFill>
              </a:rPr>
              <a:t>26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last wee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B2B2C2-CF85-1BF1-E60F-EFC4253E723E}"/>
              </a:ext>
            </a:extLst>
          </p:cNvPr>
          <p:cNvSpPr txBox="1"/>
          <p:nvPr/>
        </p:nvSpPr>
        <p:spPr>
          <a:xfrm>
            <a:off x="948820" y="3621975"/>
            <a:ext cx="4045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While Traveling To Shop In Person</a:t>
            </a:r>
          </a:p>
          <a:p>
            <a:pPr algn="ctr"/>
            <a:r>
              <a:rPr lang="en-US" sz="800" i="1"/>
              <a:t>Among those who have ever seen any DOOH ad, excluding not sure</a:t>
            </a:r>
            <a:endParaRPr lang="en-US" sz="1200" i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1FBF2C-E6EB-86F6-6E30-DB8D8B1A5B60}"/>
              </a:ext>
            </a:extLst>
          </p:cNvPr>
          <p:cNvSpPr txBox="1"/>
          <p:nvPr/>
        </p:nvSpPr>
        <p:spPr>
          <a:xfrm>
            <a:off x="6432422" y="3635049"/>
            <a:ext cx="40457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Digital Billboard Ad Impact on Purchasing Decision</a:t>
            </a:r>
            <a:br>
              <a:rPr lang="en-US" sz="1200" b="1"/>
            </a:br>
            <a:r>
              <a:rPr lang="en-US" sz="800" i="1"/>
              <a:t>% Significant/Somewhat of an Impact</a:t>
            </a:r>
          </a:p>
          <a:p>
            <a:pPr algn="ctr"/>
            <a:r>
              <a:rPr lang="en-US" sz="800" i="1"/>
              <a:t>Among those who have ever seen any DOOH ad, excluding not sure</a:t>
            </a:r>
            <a:endParaRPr lang="en-US" sz="1200" i="1"/>
          </a:p>
        </p:txBody>
      </p:sp>
      <p:pic>
        <p:nvPicPr>
          <p:cNvPr id="25" name="Graphic 24" descr="Daily calendar outline">
            <a:extLst>
              <a:ext uri="{FF2B5EF4-FFF2-40B4-BE49-F238E27FC236}">
                <a16:creationId xmlns:a16="http://schemas.microsoft.com/office/drawing/2014/main" id="{792FE54E-83A8-D942-1020-E874901E8D0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997535" y="1904563"/>
            <a:ext cx="1063227" cy="1063227"/>
          </a:xfrm>
          <a:prstGeom prst="rect">
            <a:avLst/>
          </a:prstGeom>
        </p:spPr>
      </p:pic>
      <p:pic>
        <p:nvPicPr>
          <p:cNvPr id="30" name="Graphic 29" descr="Brainstorm outline">
            <a:extLst>
              <a:ext uri="{FF2B5EF4-FFF2-40B4-BE49-F238E27FC236}">
                <a16:creationId xmlns:a16="http://schemas.microsoft.com/office/drawing/2014/main" id="{3D65B707-213C-D137-9CD4-73B5ACD326C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flipH="1">
            <a:off x="6358226" y="4534453"/>
            <a:ext cx="1053921" cy="1053921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CE06D6-7639-8B20-F14A-C0B68CE4790B}"/>
              </a:ext>
            </a:extLst>
          </p:cNvPr>
          <p:cNvCxnSpPr>
            <a:cxnSpLocks/>
          </p:cNvCxnSpPr>
          <p:nvPr/>
        </p:nvCxnSpPr>
        <p:spPr>
          <a:xfrm>
            <a:off x="981192" y="3429000"/>
            <a:ext cx="9879931" cy="0"/>
          </a:xfrm>
          <a:prstGeom prst="line">
            <a:avLst/>
          </a:prstGeom>
          <a:ln w="9525">
            <a:solidFill>
              <a:srgbClr val="7FE7C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6" name="Speech Bubble: Rectangle 5">
            <a:extLst>
              <a:ext uri="{FF2B5EF4-FFF2-40B4-BE49-F238E27FC236}">
                <a16:creationId xmlns:a16="http://schemas.microsoft.com/office/drawing/2014/main" id="{B7A8ECBA-E02D-AAF2-F174-8D4DD0001AF6}"/>
              </a:ext>
            </a:extLst>
          </p:cNvPr>
          <p:cNvSpPr/>
          <p:nvPr/>
        </p:nvSpPr>
        <p:spPr>
          <a:xfrm>
            <a:off x="8548940" y="4397301"/>
            <a:ext cx="1942125" cy="857073"/>
          </a:xfrm>
          <a:prstGeom prst="wedgeRectCallout">
            <a:avLst>
              <a:gd name="adj1" fmla="val -65933"/>
              <a:gd name="adj2" fmla="val 80469"/>
            </a:avLst>
          </a:prstGeom>
          <a:noFill/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/>
                </a:solidFill>
              </a:rPr>
              <a:t>Younger consumers (Gen Z 63%, Millennial 63%) and those using public transit (68%) and rail (70%) have bigger impact on purchase.</a:t>
            </a:r>
          </a:p>
        </p:txBody>
      </p:sp>
    </p:spTree>
    <p:extLst>
      <p:ext uri="{BB962C8B-B14F-4D97-AF65-F5344CB8AC3E}">
        <p14:creationId xmlns:p14="http://schemas.microsoft.com/office/powerpoint/2010/main" val="13227386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7263F6D-BA2E-A8B7-1424-9052C20924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2566613"/>
              </p:ext>
            </p:extLst>
          </p:nvPr>
        </p:nvGraphicFramePr>
        <p:xfrm>
          <a:off x="-582888" y="2198909"/>
          <a:ext cx="7362570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AF88906-CAFA-3D8D-B706-E74EE6228A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732775797"/>
              </p:ext>
            </p:extLst>
          </p:nvPr>
        </p:nvGraphicFramePr>
        <p:xfrm>
          <a:off x="5663821" y="2198909"/>
          <a:ext cx="6717543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0076639E-77B6-4D51-7695-3B88E3A54508}"/>
              </a:ext>
            </a:extLst>
          </p:cNvPr>
          <p:cNvGraphicFramePr>
            <a:graphicFrameLocks noGrp="1"/>
          </p:cNvGraphicFramePr>
          <p:nvPr/>
        </p:nvGraphicFramePr>
        <p:xfrm>
          <a:off x="5821251" y="2203145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ny Action (NET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Used online search to look up information about the advertiser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n advertiser's websit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n advertiser's social media sit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Downloaded or used an app shown in the advertisemen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show or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ccessed a coupon, discount code, or other information using a QR code, swipe, tap, or SMS/text technolog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Ordered an advertiser's product onli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Interacted with an advertisement such as sending a message, uploading a photo, or vot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Called a phone number advertis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Posted about the advertisement or product on a social media platform or blo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190483"/>
                  </a:ext>
                </a:extLst>
              </a:tr>
            </a:tbl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6FEE664F-38C5-A758-C3C2-51857C7FA4F0}"/>
              </a:ext>
            </a:extLst>
          </p:cNvPr>
          <p:cNvGraphicFramePr>
            <a:graphicFrameLocks noGrp="1"/>
          </p:cNvGraphicFramePr>
          <p:nvPr/>
        </p:nvGraphicFramePr>
        <p:xfrm>
          <a:off x="100885" y="2194907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316992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ny action (NET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show or program on 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restaurant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alked about the advertisement or product with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Made a purchase at a store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store or business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movie in the theat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Recommended the advertised product or brand to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uned to a radio sta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ttended an advertised sporting event, festival, concert, performance, or other public even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</a:tbl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lmost 8 in 10 consumers acted after recent digital billboard ad exposure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5956271"/>
            <a:ext cx="9250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HAS SEEN ANY DOOH AD IN P3M Billboard/Poster (n=610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0. Have you done any of the following after seeing any form of digital out-of-home advertising in the past three months?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SMARTPHONE USER HAS SEEN ANY DOOH AD IN P3M Billboard/Poster (n=602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1. Have you done any of the following on your smartphone or mobile device after seeing any form of digital out-of-home advertising in the past three month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A5BF03-A997-4FC0-CFAB-72E885D68C9F}"/>
              </a:ext>
            </a:extLst>
          </p:cNvPr>
          <p:cNvSpPr txBox="1"/>
          <p:nvPr/>
        </p:nvSpPr>
        <p:spPr>
          <a:xfrm>
            <a:off x="9701310" y="6646076"/>
            <a:ext cx="2153233" cy="1249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</a:pPr>
            <a:r>
              <a:rPr lang="en-US" sz="800">
                <a:solidFill>
                  <a:schemeClr val="bg2"/>
                </a:solidFill>
              </a:rPr>
              <a:t>Lettering denotes significant difference at 95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F35F06E-ADED-87FC-5266-31311B25344C}"/>
              </a:ext>
            </a:extLst>
          </p:cNvPr>
          <p:cNvSpPr txBox="1"/>
          <p:nvPr/>
        </p:nvSpPr>
        <p:spPr>
          <a:xfrm>
            <a:off x="633300" y="1756712"/>
            <a:ext cx="49025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ctions Taken by Digital Billboard Ad Viewers</a:t>
            </a:r>
            <a:endParaRPr lang="en-US" sz="1200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7D1813F-A591-E2D4-EA5A-D5B73F6D8C7A}"/>
              </a:ext>
            </a:extLst>
          </p:cNvPr>
          <p:cNvSpPr txBox="1"/>
          <p:nvPr/>
        </p:nvSpPr>
        <p:spPr>
          <a:xfrm>
            <a:off x="1237816" y="1941694"/>
            <a:ext cx="377106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i="1"/>
              <a:t>Among those who have seen Digital Billboard/Poster in the P3M</a:t>
            </a:r>
            <a:endParaRPr lang="en-US" sz="8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8F9E12D-5DB9-E13C-2C52-B654F3167064}"/>
              </a:ext>
            </a:extLst>
          </p:cNvPr>
          <p:cNvSpPr txBox="1"/>
          <p:nvPr/>
        </p:nvSpPr>
        <p:spPr>
          <a:xfrm>
            <a:off x="6206916" y="1756711"/>
            <a:ext cx="575343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Smartphone Actions Taken by Digital Billboard Ad Viewers</a:t>
            </a:r>
            <a:endParaRPr lang="en-US" sz="1200" i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D715075-7FEC-4DC7-B1ED-5406F7B13CF4}"/>
              </a:ext>
            </a:extLst>
          </p:cNvPr>
          <p:cNvSpPr txBox="1"/>
          <p:nvPr/>
        </p:nvSpPr>
        <p:spPr>
          <a:xfrm>
            <a:off x="6513879" y="1921910"/>
            <a:ext cx="46492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i="1"/>
              <a:t>Among smartphone users who have seen Digital Billboard/Poster in the P3M</a:t>
            </a:r>
            <a:endParaRPr lang="en-US" sz="800"/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A54706F8-C7F4-4300-9442-7C0B7CD1F9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449" y="1004197"/>
            <a:ext cx="11403471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77% of mobile device users performed a device action following digital billboard ad exposure, with online search topping the actions.</a:t>
            </a:r>
          </a:p>
          <a:p>
            <a:endParaRPr lang="en-US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700615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B8DA7BA4-A11E-8426-68C0-E04ADD5456E0}"/>
              </a:ext>
            </a:extLst>
          </p:cNvPr>
          <p:cNvSpPr/>
          <p:nvPr/>
        </p:nvSpPr>
        <p:spPr>
          <a:xfrm>
            <a:off x="5622713" y="3506113"/>
            <a:ext cx="5161791" cy="2497491"/>
          </a:xfrm>
          <a:prstGeom prst="rect">
            <a:avLst/>
          </a:prstGeom>
          <a:solidFill>
            <a:schemeClr val="accent4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B4C68277-E581-CD2E-A5F9-44043FEAD2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18194456"/>
              </p:ext>
            </p:extLst>
          </p:nvPr>
        </p:nvGraphicFramePr>
        <p:xfrm>
          <a:off x="5011385" y="2892446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FEFA5AB-C351-B4CB-5F77-452B3D38C62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18626649"/>
              </p:ext>
            </p:extLst>
          </p:nvPr>
        </p:nvGraphicFramePr>
        <p:xfrm>
          <a:off x="1090837" y="2512754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31" name="Rectangle 30">
            <a:extLst>
              <a:ext uri="{FF2B5EF4-FFF2-40B4-BE49-F238E27FC236}">
                <a16:creationId xmlns:a16="http://schemas.microsoft.com/office/drawing/2014/main" id="{C8F07BB5-2852-EA88-EDE9-5308F5520348}"/>
              </a:ext>
            </a:extLst>
          </p:cNvPr>
          <p:cNvSpPr/>
          <p:nvPr/>
        </p:nvSpPr>
        <p:spPr>
          <a:xfrm>
            <a:off x="3450862" y="1399633"/>
            <a:ext cx="4752747" cy="1773336"/>
          </a:xfrm>
          <a:prstGeom prst="rect">
            <a:avLst/>
          </a:prstGeom>
          <a:solidFill>
            <a:schemeClr val="accent4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 Category Deep Dive: Street-Level Digital Advertising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449" y="951900"/>
            <a:ext cx="11609167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63% notice street level DOOH ads on their way to in-store shopping and 46% say street level DOOH ads impact their in-store purchasing decisions.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5851605"/>
            <a:ext cx="110783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ALL QUALIFIED RESPONDENTS (n=1,023)</a:t>
            </a:r>
          </a:p>
          <a:p>
            <a:pPr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15 When was the last time you noticed advertising in each of the following types of digital out-of-home formats or locations?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00 Which of the following advertisement formats or locations do you find favorable? 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EXCLUDING NOT SURE (n=903)</a:t>
            </a: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20 How often do you notice digital out-of-home advertising messages in each of the following types of formats or environments when you are on your way to a store or just outside a store to shop in-person?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(n=892)</a:t>
            </a:r>
            <a:endParaRPr lang="en-US" sz="600">
              <a:solidFill>
                <a:srgbClr val="939598"/>
              </a:solidFill>
              <a:latin typeface="Arial" panose="020B0604020202020204"/>
            </a:endParaRP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35 How much of an impact, if any, do advertisements in each of the following types of digital formats have on your purchase decisions when shopping in-person?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503F6D-8948-BD9F-EB26-50E89016B2C1}"/>
              </a:ext>
            </a:extLst>
          </p:cNvPr>
          <p:cNvSpPr txBox="1"/>
          <p:nvPr/>
        </p:nvSpPr>
        <p:spPr>
          <a:xfrm>
            <a:off x="3804385" y="1457815"/>
            <a:ext cx="4045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</a:t>
            </a:r>
            <a:r>
              <a:rPr lang="en-US" sz="1200" b="1" u="sng"/>
              <a:t>Street Level DOOH A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06ABB3-5690-A321-B883-E2D6907FB978}"/>
              </a:ext>
            </a:extLst>
          </p:cNvPr>
          <p:cNvSpPr txBox="1"/>
          <p:nvPr/>
        </p:nvSpPr>
        <p:spPr>
          <a:xfrm>
            <a:off x="5450401" y="1859379"/>
            <a:ext cx="25415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accent4"/>
                </a:solidFill>
              </a:rPr>
              <a:t>51% </a:t>
            </a:r>
            <a:r>
              <a:rPr lang="en-US" sz="1200"/>
              <a:t>in the </a:t>
            </a:r>
            <a:r>
              <a:rPr lang="en-US" sz="1200" b="1"/>
              <a:t>past 3 month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/>
          </a:p>
          <a:p>
            <a:r>
              <a:rPr lang="en-US" sz="1600" b="1">
                <a:solidFill>
                  <a:schemeClr val="accent4"/>
                </a:solidFill>
              </a:rPr>
              <a:t>40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past month</a:t>
            </a:r>
          </a:p>
          <a:p>
            <a:endParaRPr lang="en-US" sz="1200" b="1"/>
          </a:p>
          <a:p>
            <a:r>
              <a:rPr lang="en-US" sz="1600" b="1">
                <a:solidFill>
                  <a:schemeClr val="accent4"/>
                </a:solidFill>
              </a:rPr>
              <a:t>20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last wee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B2B2C2-CF85-1BF1-E60F-EFC4253E723E}"/>
              </a:ext>
            </a:extLst>
          </p:cNvPr>
          <p:cNvSpPr txBox="1"/>
          <p:nvPr/>
        </p:nvSpPr>
        <p:spPr>
          <a:xfrm>
            <a:off x="1004438" y="3589009"/>
            <a:ext cx="4045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While Traveling To Shop In Person</a:t>
            </a:r>
            <a:br>
              <a:rPr lang="en-US" sz="1200" b="1"/>
            </a:br>
            <a:r>
              <a:rPr lang="en-US" sz="800" i="1"/>
              <a:t>Among those who have ever seen any DOOH ad, excluding not sure</a:t>
            </a:r>
            <a:endParaRPr lang="en-US" sz="1200" i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1FBF2C-E6EB-86F6-6E30-DB8D8B1A5B60}"/>
              </a:ext>
            </a:extLst>
          </p:cNvPr>
          <p:cNvSpPr txBox="1"/>
          <p:nvPr/>
        </p:nvSpPr>
        <p:spPr>
          <a:xfrm>
            <a:off x="5760720" y="3586680"/>
            <a:ext cx="4867156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Street Level DOOH Ad Impact on Purchasing Decision</a:t>
            </a:r>
            <a:br>
              <a:rPr lang="en-US" sz="1400" b="1"/>
            </a:br>
            <a:r>
              <a:rPr lang="en-US" sz="800" i="1"/>
              <a:t>% Significant/Somewhat of an Impact</a:t>
            </a:r>
          </a:p>
          <a:p>
            <a:pPr algn="ctr"/>
            <a:r>
              <a:rPr lang="en-US" sz="800" i="1"/>
              <a:t>Among those who have ever seen any DOOH ad, excluding not sure</a:t>
            </a:r>
            <a:endParaRPr lang="en-US" sz="1200" i="1"/>
          </a:p>
        </p:txBody>
      </p:sp>
      <p:pic>
        <p:nvPicPr>
          <p:cNvPr id="25" name="Graphic 24" descr="Daily calendar outline">
            <a:extLst>
              <a:ext uri="{FF2B5EF4-FFF2-40B4-BE49-F238E27FC236}">
                <a16:creationId xmlns:a16="http://schemas.microsoft.com/office/drawing/2014/main" id="{792FE54E-83A8-D942-1020-E874901E8D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138526" y="1841530"/>
            <a:ext cx="1063227" cy="106322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CE06D6-7639-8B20-F14A-C0B68CE4790B}"/>
              </a:ext>
            </a:extLst>
          </p:cNvPr>
          <p:cNvCxnSpPr>
            <a:cxnSpLocks/>
          </p:cNvCxnSpPr>
          <p:nvPr/>
        </p:nvCxnSpPr>
        <p:spPr>
          <a:xfrm>
            <a:off x="998497" y="3330283"/>
            <a:ext cx="9879931" cy="0"/>
          </a:xfrm>
          <a:prstGeom prst="line">
            <a:avLst/>
          </a:prstGeom>
          <a:ln w="9525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1" name="Graphic 20" descr="Brainstorm outline">
            <a:extLst>
              <a:ext uri="{FF2B5EF4-FFF2-40B4-BE49-F238E27FC236}">
                <a16:creationId xmlns:a16="http://schemas.microsoft.com/office/drawing/2014/main" id="{2CDD4856-491B-A630-525F-A3235BFC25E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6008453" y="4449978"/>
            <a:ext cx="1053921" cy="1053921"/>
          </a:xfrm>
          <a:prstGeom prst="rect">
            <a:avLst/>
          </a:prstGeom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205EF830-FE1D-5172-A84B-7186C82CA0D4}"/>
              </a:ext>
            </a:extLst>
          </p:cNvPr>
          <p:cNvSpPr/>
          <p:nvPr/>
        </p:nvSpPr>
        <p:spPr>
          <a:xfrm>
            <a:off x="8505363" y="4628987"/>
            <a:ext cx="1942125" cy="1048765"/>
          </a:xfrm>
          <a:prstGeom prst="wedgeRectCallout">
            <a:avLst>
              <a:gd name="adj1" fmla="val -64941"/>
              <a:gd name="adj2" fmla="val 32546"/>
            </a:avLst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/>
                </a:solidFill>
              </a:rPr>
              <a:t>Purchase decisions by younger generations (Gen Z 59%, Millennial 58%) and those using public transit (63%) and rail (71%) are more impacted.</a:t>
            </a:r>
          </a:p>
        </p:txBody>
      </p:sp>
      <p:sp>
        <p:nvSpPr>
          <p:cNvPr id="18" name="Title 2">
            <a:extLst>
              <a:ext uri="{FF2B5EF4-FFF2-40B4-BE49-F238E27FC236}">
                <a16:creationId xmlns:a16="http://schemas.microsoft.com/office/drawing/2014/main" id="{98D4D3F6-0BB9-139F-568F-7D1F93E374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00" y="517525"/>
            <a:ext cx="11403013" cy="434975"/>
          </a:xfrm>
        </p:spPr>
        <p:txBody>
          <a:bodyPr/>
          <a:lstStyle/>
          <a:p>
            <a:r>
              <a:rPr lang="en-US"/>
              <a:t>Over 50% of consumers have recently noticed street level digital OOH ads  </a:t>
            </a:r>
          </a:p>
        </p:txBody>
      </p:sp>
    </p:spTree>
    <p:extLst>
      <p:ext uri="{BB962C8B-B14F-4D97-AF65-F5344CB8AC3E}">
        <p14:creationId xmlns:p14="http://schemas.microsoft.com/office/powerpoint/2010/main" val="3709037564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2">
            <a:extLst>
              <a:ext uri="{FF2B5EF4-FFF2-40B4-BE49-F238E27FC236}">
                <a16:creationId xmlns:a16="http://schemas.microsoft.com/office/drawing/2014/main" id="{95B39CF5-D3EA-0E4E-086C-721D390CA230}"/>
              </a:ext>
            </a:extLst>
          </p:cNvPr>
          <p:cNvSpPr txBox="1">
            <a:spLocks/>
          </p:cNvSpPr>
          <p:nvPr/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endParaRPr lang="en-US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7263F6D-BA2E-A8B7-1424-9052C20924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331904134"/>
              </p:ext>
            </p:extLst>
          </p:nvPr>
        </p:nvGraphicFramePr>
        <p:xfrm>
          <a:off x="-643848" y="2117629"/>
          <a:ext cx="7362570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AF88906-CAFA-3D8D-B706-E74EE6228A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512107800"/>
              </p:ext>
            </p:extLst>
          </p:nvPr>
        </p:nvGraphicFramePr>
        <p:xfrm>
          <a:off x="6300519" y="2117629"/>
          <a:ext cx="5522049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F445DA76-2578-0307-259A-57A213DC6C8A}"/>
              </a:ext>
            </a:extLst>
          </p:cNvPr>
          <p:cNvGraphicFramePr>
            <a:graphicFrameLocks noGrp="1"/>
          </p:cNvGraphicFramePr>
          <p:nvPr/>
        </p:nvGraphicFramePr>
        <p:xfrm>
          <a:off x="50085" y="2113627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316992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ny action (NET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restaurant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show or program on 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store or business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Made a purchase at a store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alked about the advertisement or product with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movie in the theat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Recommended the advertised product or brand to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uned to a radio sta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ttended an advertised sporting event, festival, concert, performance, or other public even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</a:tbl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5956271"/>
            <a:ext cx="9250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HAS SEEN ANY DOOH AD IN P3M Street Level (n=505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0. Have you done any of the following after seeing any form of digital out-of-home advertising in the past three months?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SMARTPHONE USER HAS SEEN ANY DOOH AD IN P3M Street Level (n=500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1. Have you done any of the following on your smartphone or mobile device after seeing any form of digital out-of-home advertising in the past three months?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0A5BF03-A997-4FC0-CFAB-72E885D68C9F}"/>
              </a:ext>
            </a:extLst>
          </p:cNvPr>
          <p:cNvSpPr txBox="1"/>
          <p:nvPr/>
        </p:nvSpPr>
        <p:spPr>
          <a:xfrm>
            <a:off x="9701310" y="6646076"/>
            <a:ext cx="2153233" cy="1249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</a:pPr>
            <a:r>
              <a:rPr lang="en-US" sz="800">
                <a:solidFill>
                  <a:schemeClr val="bg2"/>
                </a:solidFill>
              </a:rPr>
              <a:t>Lettering denotes significant difference at 95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CEDD846-B036-D0AD-C367-0F7A40B6BE4A}"/>
              </a:ext>
            </a:extLst>
          </p:cNvPr>
          <p:cNvSpPr txBox="1"/>
          <p:nvPr/>
        </p:nvSpPr>
        <p:spPr>
          <a:xfrm>
            <a:off x="521208" y="1675432"/>
            <a:ext cx="501464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ctions Taken by Street Level DOOH Ad Viewers</a:t>
            </a:r>
            <a:endParaRPr lang="en-US" sz="1200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5AE203-D561-B381-F4B2-A973FD038DEF}"/>
              </a:ext>
            </a:extLst>
          </p:cNvPr>
          <p:cNvSpPr txBox="1"/>
          <p:nvPr/>
        </p:nvSpPr>
        <p:spPr>
          <a:xfrm>
            <a:off x="1076195" y="1860414"/>
            <a:ext cx="3942845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i="1"/>
              <a:t>Among those who have seen Digital Street Level Ads in the P3M</a:t>
            </a:r>
            <a:endParaRPr lang="en-US" sz="8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11F9D1-2951-6C1B-4C35-93AF291FD62D}"/>
              </a:ext>
            </a:extLst>
          </p:cNvPr>
          <p:cNvSpPr txBox="1"/>
          <p:nvPr/>
        </p:nvSpPr>
        <p:spPr>
          <a:xfrm>
            <a:off x="6473969" y="1675432"/>
            <a:ext cx="49025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Smartphone Actions Taken by Street Level DOOH Ad Viewers</a:t>
            </a:r>
            <a:endParaRPr lang="en-US" sz="1200" i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25C5F60F-2391-E21A-ED2D-033C2605353A}"/>
              </a:ext>
            </a:extLst>
          </p:cNvPr>
          <p:cNvSpPr txBox="1"/>
          <p:nvPr/>
        </p:nvSpPr>
        <p:spPr>
          <a:xfrm>
            <a:off x="6600604" y="1844709"/>
            <a:ext cx="4649284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800" i="1"/>
              <a:t>Among smartphone users who have seen Digital Street Level Ads in the P3M</a:t>
            </a:r>
            <a:endParaRPr lang="en-US" sz="800"/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B55205B0-8C61-E49D-2327-1874C78CFAF8}"/>
              </a:ext>
            </a:extLst>
          </p:cNvPr>
          <p:cNvGraphicFramePr>
            <a:graphicFrameLocks noGrp="1"/>
          </p:cNvGraphicFramePr>
          <p:nvPr/>
        </p:nvGraphicFramePr>
        <p:xfrm>
          <a:off x="5953331" y="2121865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Any Action (NET)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Used online search to look up information about the advertiser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Visited an advertiser's website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Visited an advertiser's social media site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Downloaded or used an app shown in the advertisement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Watched an advertised show or program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Ordered an advertiser's product online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Accessed a coupon, discount code, or other information using a QR code, swipe, tap, or SMS/text technology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Interacted with an advertisement such as sending a message, uploading a photo, or voting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Called a phone number advertised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Posted about the advertisement or product on a social media platform or blog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0"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47625" marR="47625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190483"/>
                  </a:ext>
                </a:extLst>
              </a:tr>
            </a:tbl>
          </a:graphicData>
        </a:graphic>
      </p:graphicFrame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72370A2D-9DB7-0B53-1C64-1BC853A1E2E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9424" y="951899"/>
            <a:ext cx="11645119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Mobile device users are most likely to search online for information about advertisers or visit advertiser websites.</a:t>
            </a:r>
          </a:p>
        </p:txBody>
      </p:sp>
      <p:sp>
        <p:nvSpPr>
          <p:cNvPr id="7" name="Title 2">
            <a:extLst>
              <a:ext uri="{FF2B5EF4-FFF2-40B4-BE49-F238E27FC236}">
                <a16:creationId xmlns:a16="http://schemas.microsoft.com/office/drawing/2014/main" id="{998892BA-DBC1-13E4-4963-03115AD8CB5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800" y="517525"/>
            <a:ext cx="11403013" cy="434975"/>
          </a:xfrm>
        </p:spPr>
        <p:txBody>
          <a:bodyPr/>
          <a:lstStyle/>
          <a:p>
            <a:r>
              <a:rPr lang="en-US"/>
              <a:t>Almost 9 in 10 consumers acted after recent street level digital OOH ad exposure</a:t>
            </a:r>
          </a:p>
        </p:txBody>
      </p:sp>
    </p:spTree>
    <p:extLst>
      <p:ext uri="{BB962C8B-B14F-4D97-AF65-F5344CB8AC3E}">
        <p14:creationId xmlns:p14="http://schemas.microsoft.com/office/powerpoint/2010/main" val="324770414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0804D784-532E-62F7-123D-92141C65E9E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636418"/>
              </p:ext>
            </p:extLst>
          </p:nvPr>
        </p:nvGraphicFramePr>
        <p:xfrm>
          <a:off x="255760" y="2831560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B8DA7BA4-A11E-8426-68C0-E04ADD5456E0}"/>
              </a:ext>
            </a:extLst>
          </p:cNvPr>
          <p:cNvSpPr/>
          <p:nvPr/>
        </p:nvSpPr>
        <p:spPr>
          <a:xfrm>
            <a:off x="5716637" y="3842347"/>
            <a:ext cx="5161791" cy="2497491"/>
          </a:xfrm>
          <a:prstGeom prst="rect">
            <a:avLst/>
          </a:prstGeom>
          <a:solidFill>
            <a:schemeClr val="accent2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8F07BB5-2852-EA88-EDE9-5308F5520348}"/>
              </a:ext>
            </a:extLst>
          </p:cNvPr>
          <p:cNvSpPr/>
          <p:nvPr/>
        </p:nvSpPr>
        <p:spPr>
          <a:xfrm>
            <a:off x="2884549" y="1401548"/>
            <a:ext cx="4752747" cy="1866178"/>
          </a:xfrm>
          <a:prstGeom prst="rect">
            <a:avLst/>
          </a:prstGeom>
          <a:solidFill>
            <a:schemeClr val="accent2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B4C68277-E581-CD2E-A5F9-44043FEAD2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7690088"/>
              </p:ext>
            </p:extLst>
          </p:nvPr>
        </p:nvGraphicFramePr>
        <p:xfrm>
          <a:off x="5055259" y="2883262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 Category Deep Dive: Transit Digital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lmost 60% of consumers have recently noticed transit digital OOH ad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65% notice transit DOOH ads on their way to in-store shopping and 43% say transit DOOH ads impact their in-store purchasing decisions.</a:t>
            </a:r>
          </a:p>
          <a:p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503F6D-8948-BD9F-EB26-50E89016B2C1}"/>
              </a:ext>
            </a:extLst>
          </p:cNvPr>
          <p:cNvSpPr txBox="1"/>
          <p:nvPr/>
        </p:nvSpPr>
        <p:spPr>
          <a:xfrm>
            <a:off x="3250011" y="1512020"/>
            <a:ext cx="4045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</a:t>
            </a:r>
            <a:r>
              <a:rPr lang="en-US" sz="1200" b="1" u="sng"/>
              <a:t>Transit DOOH A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06ABB3-5690-A321-B883-E2D6907FB978}"/>
              </a:ext>
            </a:extLst>
          </p:cNvPr>
          <p:cNvSpPr txBox="1"/>
          <p:nvPr/>
        </p:nvSpPr>
        <p:spPr>
          <a:xfrm>
            <a:off x="4754178" y="1886109"/>
            <a:ext cx="25415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accent2"/>
                </a:solidFill>
              </a:rPr>
              <a:t>58% </a:t>
            </a:r>
            <a:r>
              <a:rPr lang="en-US" sz="1200"/>
              <a:t>in the </a:t>
            </a:r>
            <a:r>
              <a:rPr lang="en-US" sz="1200" b="1"/>
              <a:t>past 3 month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/>
          </a:p>
          <a:p>
            <a:r>
              <a:rPr lang="en-US" sz="1600" b="1">
                <a:solidFill>
                  <a:schemeClr val="accent2"/>
                </a:solidFill>
              </a:rPr>
              <a:t>46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past mon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/>
          </a:p>
          <a:p>
            <a:r>
              <a:rPr lang="en-US" sz="1600" b="1">
                <a:solidFill>
                  <a:schemeClr val="accent2"/>
                </a:solidFill>
              </a:rPr>
              <a:t>26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last wee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B2B2C2-CF85-1BF1-E60F-EFC4253E723E}"/>
              </a:ext>
            </a:extLst>
          </p:cNvPr>
          <p:cNvSpPr txBox="1"/>
          <p:nvPr/>
        </p:nvSpPr>
        <p:spPr>
          <a:xfrm>
            <a:off x="968986" y="3955827"/>
            <a:ext cx="4045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While Traveling To Shop In Person</a:t>
            </a:r>
            <a:br>
              <a:rPr lang="en-US" sz="1200" b="1"/>
            </a:br>
            <a:r>
              <a:rPr lang="en-US" sz="800" i="1"/>
              <a:t>Among those who have ever seen any DOOH ad, excluding not sure</a:t>
            </a:r>
            <a:endParaRPr lang="en-US" sz="1200" i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1FBF2C-E6EB-86F6-6E30-DB8D8B1A5B60}"/>
              </a:ext>
            </a:extLst>
          </p:cNvPr>
          <p:cNvSpPr txBox="1"/>
          <p:nvPr/>
        </p:nvSpPr>
        <p:spPr>
          <a:xfrm>
            <a:off x="5974149" y="3955827"/>
            <a:ext cx="447151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Transit DOOH Ad Impact on Purchasing Decision</a:t>
            </a:r>
            <a:br>
              <a:rPr lang="en-US" sz="1400" b="1"/>
            </a:br>
            <a:r>
              <a:rPr lang="en-US" sz="800" i="1"/>
              <a:t>% Significant/Somewhat of an Impact</a:t>
            </a:r>
            <a:br>
              <a:rPr lang="en-US" sz="800" i="1"/>
            </a:br>
            <a:r>
              <a:rPr lang="en-US" sz="800" i="1"/>
              <a:t>Among those who have ever seen any DOOH ad, excluding not sure</a:t>
            </a:r>
            <a:endParaRPr lang="en-US" sz="900" i="1"/>
          </a:p>
        </p:txBody>
      </p:sp>
      <p:pic>
        <p:nvPicPr>
          <p:cNvPr id="25" name="Graphic 24" descr="Daily calendar outline">
            <a:extLst>
              <a:ext uri="{FF2B5EF4-FFF2-40B4-BE49-F238E27FC236}">
                <a16:creationId xmlns:a16="http://schemas.microsoft.com/office/drawing/2014/main" id="{792FE54E-83A8-D942-1020-E874901E8D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536318" y="1885200"/>
            <a:ext cx="1063227" cy="106322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CE06D6-7639-8B20-F14A-C0B68CE4790B}"/>
              </a:ext>
            </a:extLst>
          </p:cNvPr>
          <p:cNvCxnSpPr>
            <a:cxnSpLocks/>
          </p:cNvCxnSpPr>
          <p:nvPr/>
        </p:nvCxnSpPr>
        <p:spPr>
          <a:xfrm>
            <a:off x="998497" y="3842347"/>
            <a:ext cx="9879931" cy="0"/>
          </a:xfrm>
          <a:prstGeom prst="line">
            <a:avLst/>
          </a:prstGeom>
          <a:ln w="9525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DA5B248E-ED6D-9AD4-2DE7-533268DC724E}"/>
              </a:ext>
            </a:extLst>
          </p:cNvPr>
          <p:cNvSpPr txBox="1"/>
          <p:nvPr/>
        </p:nvSpPr>
        <p:spPr>
          <a:xfrm>
            <a:off x="177447" y="5857147"/>
            <a:ext cx="110783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ALL QUALIFIED RESPONDENTS (n=1,023)</a:t>
            </a:r>
          </a:p>
          <a:p>
            <a:pPr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15 When was the last time you noticed advertising in each of the following types of digital out-of-home formats or locations?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00 Which of the following advertisement formats or locations do you find favorable? 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EXCLUDING NOT SURE (n=902)</a:t>
            </a: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20 How often do you notice digital out-of-home advertising messages in each of the following types of formats or environments when you are on your way to a store or just outside a store to shop in-person?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(n=890)</a:t>
            </a:r>
            <a:endParaRPr lang="en-US" sz="600">
              <a:solidFill>
                <a:srgbClr val="939598"/>
              </a:solidFill>
              <a:latin typeface="Arial" panose="020B0604020202020204"/>
            </a:endParaRP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35 How much of an impact, if any, do advertisements in each of the following types of digital formats have on your purchase decisions when shopping in-person?</a:t>
            </a:r>
          </a:p>
        </p:txBody>
      </p:sp>
      <p:pic>
        <p:nvPicPr>
          <p:cNvPr id="21" name="Graphic 20" descr="Brainstorm outline">
            <a:extLst>
              <a:ext uri="{FF2B5EF4-FFF2-40B4-BE49-F238E27FC236}">
                <a16:creationId xmlns:a16="http://schemas.microsoft.com/office/drawing/2014/main" id="{664169CF-4B5C-E2D6-B215-AEED0502008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6241790" y="4749828"/>
            <a:ext cx="1053921" cy="1053921"/>
          </a:xfrm>
          <a:prstGeom prst="rect">
            <a:avLst/>
          </a:prstGeom>
        </p:spPr>
      </p:pic>
      <p:sp>
        <p:nvSpPr>
          <p:cNvPr id="13" name="Speech Bubble: Rectangle 12">
            <a:extLst>
              <a:ext uri="{FF2B5EF4-FFF2-40B4-BE49-F238E27FC236}">
                <a16:creationId xmlns:a16="http://schemas.microsoft.com/office/drawing/2014/main" id="{6809814A-3B0F-5CDE-217E-BEC2DFB919CF}"/>
              </a:ext>
            </a:extLst>
          </p:cNvPr>
          <p:cNvSpPr/>
          <p:nvPr/>
        </p:nvSpPr>
        <p:spPr>
          <a:xfrm>
            <a:off x="8605217" y="4973760"/>
            <a:ext cx="1942125" cy="896689"/>
          </a:xfrm>
          <a:prstGeom prst="wedgeRectCallout">
            <a:avLst>
              <a:gd name="adj1" fmla="val -64941"/>
              <a:gd name="adj2" fmla="val 32546"/>
            </a:avLst>
          </a:prstGeom>
          <a:noFill/>
          <a:ln>
            <a:solidFill>
              <a:schemeClr val="accent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/>
                </a:solidFill>
              </a:rPr>
              <a:t>Younger generations (Gen Z 50%, Millennial 54%) and those using public transit (59%), rail (74%), and flying (52%) are more impacted.</a:t>
            </a:r>
          </a:p>
        </p:txBody>
      </p:sp>
    </p:spTree>
    <p:extLst>
      <p:ext uri="{BB962C8B-B14F-4D97-AF65-F5344CB8AC3E}">
        <p14:creationId xmlns:p14="http://schemas.microsoft.com/office/powerpoint/2010/main" val="209387252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AF88906-CAFA-3D8D-B706-E74EE6228A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75563744"/>
              </p:ext>
            </p:extLst>
          </p:nvPr>
        </p:nvGraphicFramePr>
        <p:xfrm>
          <a:off x="6057885" y="2117629"/>
          <a:ext cx="5796658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5956271"/>
            <a:ext cx="9250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HAS SEEN ANY DOOH AD IN P3M Transit (n=572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0. Have you done any of the following after seeing any form of digital out-of-home advertising in the past three months?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SMARTPHONE USER HAS SEEN ANY DOOH AD IN P3M Transit (n=563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1. Have you done any of the following on your smartphone or mobile device after seeing any form of digital out-of-home advertising in the past three months?</a:t>
            </a:r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7263F6D-BA2E-A8B7-1424-9052C20924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13901770"/>
              </p:ext>
            </p:extLst>
          </p:nvPr>
        </p:nvGraphicFramePr>
        <p:xfrm>
          <a:off x="-497317" y="2121974"/>
          <a:ext cx="7362570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C0A5BF03-A997-4FC0-CFAB-72E885D68C9F}"/>
              </a:ext>
            </a:extLst>
          </p:cNvPr>
          <p:cNvSpPr txBox="1"/>
          <p:nvPr/>
        </p:nvSpPr>
        <p:spPr>
          <a:xfrm>
            <a:off x="9701310" y="6646076"/>
            <a:ext cx="2153233" cy="1249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</a:pPr>
            <a:r>
              <a:rPr lang="en-US" sz="800">
                <a:solidFill>
                  <a:schemeClr val="bg2"/>
                </a:solidFill>
              </a:rPr>
              <a:t>Lettering denotes significant difference at 95%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8D4A608-B0D3-2B6A-8F07-A2FDFAD9F29E}"/>
              </a:ext>
            </a:extLst>
          </p:cNvPr>
          <p:cNvSpPr txBox="1"/>
          <p:nvPr/>
        </p:nvSpPr>
        <p:spPr>
          <a:xfrm>
            <a:off x="633300" y="1675432"/>
            <a:ext cx="49025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ctions Taken by Transit DOOH Ad Viewers</a:t>
            </a:r>
            <a:endParaRPr lang="en-US" sz="1200" i="1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6EDDC72-6F89-C853-79FD-74EC8D500569}"/>
              </a:ext>
            </a:extLst>
          </p:cNvPr>
          <p:cNvSpPr txBox="1"/>
          <p:nvPr/>
        </p:nvSpPr>
        <p:spPr>
          <a:xfrm>
            <a:off x="1329256" y="1860414"/>
            <a:ext cx="3510642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/>
              <a:t>Among those who have seen Digital Transit Ads in the P3M</a:t>
            </a:r>
            <a:endParaRPr lang="en-US" sz="100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74CE75A-D9AC-9981-399B-1232F7948747}"/>
              </a:ext>
            </a:extLst>
          </p:cNvPr>
          <p:cNvSpPr txBox="1"/>
          <p:nvPr/>
        </p:nvSpPr>
        <p:spPr>
          <a:xfrm>
            <a:off x="6382529" y="1675432"/>
            <a:ext cx="49025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Smartphone Actions Taken by Transit DOOH Ad Viewers</a:t>
            </a:r>
            <a:endParaRPr lang="en-US" sz="1200" i="1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7FF65C9-171E-C6AC-6AF9-084E4203E3B8}"/>
              </a:ext>
            </a:extLst>
          </p:cNvPr>
          <p:cNvSpPr txBox="1"/>
          <p:nvPr/>
        </p:nvSpPr>
        <p:spPr>
          <a:xfrm>
            <a:off x="6635799" y="1840630"/>
            <a:ext cx="439601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/>
              <a:t>Among smartphone users who have seen Digital Transit Ads in the P3M</a:t>
            </a:r>
            <a:endParaRPr lang="en-US" sz="1000"/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05AE81BA-505E-C09C-988D-09D90A3B2D1E}"/>
              </a:ext>
            </a:extLst>
          </p:cNvPr>
          <p:cNvGraphicFramePr>
            <a:graphicFrameLocks noGrp="1"/>
          </p:cNvGraphicFramePr>
          <p:nvPr/>
        </p:nvGraphicFramePr>
        <p:xfrm>
          <a:off x="5821251" y="2121865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1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ny Action (NET)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Used online search to look up information about the advertiser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n advertiser's websit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n advertiser's social media sit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Downloaded or used an app shown in the advertisement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ccessed a coupon, discount code, or other information using a QR code, swipe, tap, or SMS/text technology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show or program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Ordered an advertiser's product onlin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Interacted with an advertisement such as sending a message, uploading a photo, or votin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Called a phone number advertised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Posted about the advertisement or product on a social media platform or blog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9525" marR="9525" marT="9525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190483"/>
                  </a:ext>
                </a:extLst>
              </a:tr>
            </a:tbl>
          </a:graphicData>
        </a:graphic>
      </p:graphicFrame>
      <p:graphicFrame>
        <p:nvGraphicFramePr>
          <p:cNvPr id="19" name="Table 18">
            <a:extLst>
              <a:ext uri="{FF2B5EF4-FFF2-40B4-BE49-F238E27FC236}">
                <a16:creationId xmlns:a16="http://schemas.microsoft.com/office/drawing/2014/main" id="{A6142511-A182-5D4D-C4D3-82DB96585EF6}"/>
              </a:ext>
            </a:extLst>
          </p:cNvPr>
          <p:cNvGraphicFramePr>
            <a:graphicFrameLocks noGrp="1"/>
          </p:cNvGraphicFramePr>
          <p:nvPr/>
        </p:nvGraphicFramePr>
        <p:xfrm>
          <a:off x="100885" y="2113627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316992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ny action (NET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show or program on 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restaurant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Made a purchase at a store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alked about the advertisement or product with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store or business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movie in the theat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Recommended the advertised product or brand to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uned to a radio sta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ttended an advertised sporting event, festival, concert, performance, or other public even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</a:tbl>
          </a:graphicData>
        </a:graphic>
      </p:graphicFrame>
      <p:sp>
        <p:nvSpPr>
          <p:cNvPr id="24" name="Title 2">
            <a:extLst>
              <a:ext uri="{FF2B5EF4-FFF2-40B4-BE49-F238E27FC236}">
                <a16:creationId xmlns:a16="http://schemas.microsoft.com/office/drawing/2014/main" id="{068EF165-ACFD-E0E4-7FE2-6E0C6624F2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77449" y="518160"/>
            <a:ext cx="11403471" cy="433739"/>
          </a:xfrm>
        </p:spPr>
        <p:txBody>
          <a:bodyPr/>
          <a:lstStyle/>
          <a:p>
            <a:r>
              <a:rPr lang="en-US"/>
              <a:t>85% of consumers acted after recent transit digital OOH ad exposur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E12E7764-452E-F436-507F-919237862BE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447" y="940469"/>
            <a:ext cx="11943431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Mobile device users are most likely to search online for information about advertisers or visit the advertiser websites.</a:t>
            </a:r>
          </a:p>
          <a:p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8312CB5-F6F4-B1F9-C2D7-55BF6FB86365}"/>
              </a:ext>
            </a:extLst>
          </p:cNvPr>
          <p:cNvSpPr txBox="1">
            <a:spLocks/>
          </p:cNvSpPr>
          <p:nvPr/>
        </p:nvSpPr>
        <p:spPr>
          <a:xfrm>
            <a:off x="235325" y="1212137"/>
            <a:ext cx="11645119" cy="378137"/>
          </a:xfrm>
          <a:prstGeom prst="rect">
            <a:avLst/>
          </a:prstGeom>
        </p:spPr>
        <p:txBody>
          <a:bodyPr/>
          <a:lstStyle>
            <a:lvl1pPr marL="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400" b="0" i="0" kern="1200">
                <a:solidFill>
                  <a:schemeClr val="tx2"/>
                </a:solidFill>
                <a:latin typeface="Helvetica Light" panose="020B040302020202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b="0" kern="1200" cap="none" spc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828754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en-US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8784456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4F7FB5F0-E6B6-4C6B-820A-361958DC41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+mn-lt"/>
              </a:rPr>
              <a:t>Table of Contents and Methodology</a:t>
            </a:r>
          </a:p>
        </p:txBody>
      </p:sp>
      <p:graphicFrame>
        <p:nvGraphicFramePr>
          <p:cNvPr id="4" name="Table 5">
            <a:extLst>
              <a:ext uri="{FF2B5EF4-FFF2-40B4-BE49-F238E27FC236}">
                <a16:creationId xmlns:a16="http://schemas.microsoft.com/office/drawing/2014/main" id="{36CD1C82-2769-44FE-9DC1-AA4A3CFDC7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1862555"/>
              </p:ext>
            </p:extLst>
          </p:nvPr>
        </p:nvGraphicFramePr>
        <p:xfrm>
          <a:off x="560585" y="1670857"/>
          <a:ext cx="4809437" cy="4798323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4059734">
                  <a:extLst>
                    <a:ext uri="{9D8B030D-6E8A-4147-A177-3AD203B41FA5}">
                      <a16:colId xmlns:a16="http://schemas.microsoft.com/office/drawing/2014/main" val="3980726531"/>
                    </a:ext>
                  </a:extLst>
                </a:gridCol>
                <a:gridCol w="749703">
                  <a:extLst>
                    <a:ext uri="{9D8B030D-6E8A-4147-A177-3AD203B41FA5}">
                      <a16:colId xmlns:a16="http://schemas.microsoft.com/office/drawing/2014/main" val="2276397627"/>
                    </a:ext>
                  </a:extLst>
                </a:gridCol>
              </a:tblGrid>
              <a:tr h="533147">
                <a:tc>
                  <a:txBody>
                    <a:bodyPr/>
                    <a:lstStyle/>
                    <a:p>
                      <a:r>
                        <a:rPr lang="en-US" sz="1400" b="1" i="0">
                          <a:solidFill>
                            <a:schemeClr val="tx1"/>
                          </a:solidFill>
                          <a:latin typeface="+mn-lt"/>
                        </a:rPr>
                        <a:t>Introduction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>
                          <a:solidFill>
                            <a:schemeClr val="accent1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81754036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b="1" i="0">
                          <a:latin typeface="+mn-lt"/>
                        </a:rPr>
                        <a:t>Key Finding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>
                          <a:solidFill>
                            <a:schemeClr val="accent1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33329497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r>
                        <a:rPr lang="en-US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udience Definition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>
                          <a:solidFill>
                            <a:schemeClr val="accent1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26867042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r>
                        <a:rPr lang="en-US" sz="1400" b="1" i="0" kern="12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Detailed Finding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>
                          <a:solidFill>
                            <a:schemeClr val="accent1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99947712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r>
                        <a:rPr lang="en-US" sz="1400" b="1" i="0">
                          <a:latin typeface="+mn-lt"/>
                        </a:rPr>
                        <a:t>The State of DOOH Advertising</a:t>
                      </a:r>
                    </a:p>
                  </a:txBody>
                  <a:tcPr marL="45720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>
                          <a:solidFill>
                            <a:schemeClr val="accent1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15790346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r>
                        <a:rPr lang="en-US" sz="1400" b="1" i="0">
                          <a:latin typeface="+mn-lt"/>
                        </a:rPr>
                        <a:t>DOOH Category Deep Dive</a:t>
                      </a:r>
                    </a:p>
                  </a:txBody>
                  <a:tcPr marL="4572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>
                          <a:solidFill>
                            <a:schemeClr val="accent1"/>
                          </a:solidFill>
                          <a:latin typeface="+mn-lt"/>
                        </a:rPr>
                        <a:t>18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694365770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r>
                        <a:rPr lang="en-US" sz="1400" b="1" i="0">
                          <a:latin typeface="+mn-lt"/>
                        </a:rPr>
                        <a:t>DOOH: Amplifying and Innovative</a:t>
                      </a:r>
                    </a:p>
                  </a:txBody>
                  <a:tcPr marL="457200"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400" b="1" i="0">
                          <a:solidFill>
                            <a:schemeClr val="accent1"/>
                          </a:solidFill>
                          <a:latin typeface="+mn-lt"/>
                        </a:rPr>
                        <a:t>2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5136240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r>
                        <a:rPr lang="en-US" sz="1400" b="1" i="0">
                          <a:solidFill>
                            <a:schemeClr val="tx1"/>
                          </a:solidFill>
                          <a:latin typeface="+mn-lt"/>
                        </a:rPr>
                        <a:t>Demographic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>
                          <a:solidFill>
                            <a:schemeClr val="accent1"/>
                          </a:solidFill>
                          <a:latin typeface="+mn-lt"/>
                        </a:rPr>
                        <a:t>33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7804541"/>
                  </a:ext>
                </a:extLst>
              </a:tr>
              <a:tr h="533147">
                <a:tc>
                  <a:txBody>
                    <a:bodyPr/>
                    <a:lstStyle/>
                    <a:p>
                      <a:r>
                        <a:rPr lang="en-US" sz="1400" b="1" i="0">
                          <a:solidFill>
                            <a:schemeClr val="tx1"/>
                          </a:solidFill>
                          <a:latin typeface="+mn-lt"/>
                        </a:rPr>
                        <a:t>Appendix</a:t>
                      </a:r>
                      <a:endParaRPr lang="en-US" sz="1400" b="1" i="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600" b="1" i="0">
                          <a:solidFill>
                            <a:schemeClr val="accent1"/>
                          </a:solidFill>
                          <a:latin typeface="+mn-lt"/>
                        </a:rPr>
                        <a:t>35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00694772"/>
                  </a:ext>
                </a:extLst>
              </a:tr>
            </a:tbl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D54C8F0-48BA-2921-D301-3E024380C6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662503"/>
              </p:ext>
            </p:extLst>
          </p:nvPr>
        </p:nvGraphicFramePr>
        <p:xfrm>
          <a:off x="7532996" y="2289598"/>
          <a:ext cx="4297680" cy="350520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45920">
                  <a:extLst>
                    <a:ext uri="{9D8B030D-6E8A-4147-A177-3AD203B41FA5}">
                      <a16:colId xmlns:a16="http://schemas.microsoft.com/office/drawing/2014/main" val="1449392551"/>
                    </a:ext>
                  </a:extLst>
                </a:gridCol>
                <a:gridCol w="2651760">
                  <a:extLst>
                    <a:ext uri="{9D8B030D-6E8A-4147-A177-3AD203B41FA5}">
                      <a16:colId xmlns:a16="http://schemas.microsoft.com/office/drawing/2014/main" val="3830554313"/>
                    </a:ext>
                  </a:extLst>
                </a:gridCol>
              </a:tblGrid>
              <a:tr h="701040">
                <a:tc>
                  <a:txBody>
                    <a:bodyPr/>
                    <a:lstStyle/>
                    <a:p>
                      <a:r>
                        <a:rPr lang="en-US" sz="1550" b="1" i="0">
                          <a:latin typeface="+mn-lt"/>
                        </a:rPr>
                        <a:t>Field Dat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550" b="1" i="0">
                          <a:latin typeface="+mn-lt"/>
                        </a:rPr>
                        <a:t>April 2 – April 9, 2024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38704429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r>
                        <a:rPr lang="en-US" sz="1550" b="1" i="0">
                          <a:latin typeface="+mn-lt"/>
                        </a:rPr>
                        <a:t>Survey Length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550" b="1" i="0">
                          <a:latin typeface="+mn-lt"/>
                        </a:rPr>
                        <a:t>10 minutes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665684287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r>
                        <a:rPr lang="en-US" sz="1550" b="1" i="0">
                          <a:latin typeface="+mn-lt"/>
                        </a:rPr>
                        <a:t>Method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550" b="1" i="0">
                          <a:latin typeface="+mn-lt"/>
                        </a:rPr>
                        <a:t>Online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546635390"/>
                  </a:ext>
                </a:extLst>
              </a:tr>
              <a:tr h="701040">
                <a:tc>
                  <a:txBody>
                    <a:bodyPr/>
                    <a:lstStyle/>
                    <a:p>
                      <a:r>
                        <a:rPr lang="en-US" sz="1550" b="1" i="0">
                          <a:latin typeface="+mn-lt"/>
                        </a:rPr>
                        <a:t>Audience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550" b="1" i="0">
                          <a:latin typeface="+mn-lt"/>
                        </a:rPr>
                        <a:t>n=1,023 U.S. Adults ages 18-64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12786605"/>
                  </a:ext>
                </a:extLst>
              </a:tr>
              <a:tr h="701040">
                <a:tc gridSpan="2">
                  <a:txBody>
                    <a:bodyPr/>
                    <a:lstStyle/>
                    <a:p>
                      <a:pPr algn="l"/>
                      <a:r>
                        <a:rPr lang="en-US" sz="1000" b="0" i="0">
                          <a:latin typeface="+mn-lt"/>
                        </a:rPr>
                        <a:t>Data is weighted to reflect the U.S. general public across age, gender, race/ethnicity, region, income, household size, and employment.</a:t>
                      </a: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/>
                      <a:endParaRPr lang="en-US" sz="1600" b="0" i="0">
                        <a:latin typeface="Helvetica" pitchFamily="2" charset="0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157563003"/>
                  </a:ext>
                </a:extLst>
              </a:tr>
            </a:tbl>
          </a:graphicData>
        </a:graphic>
      </p:graphicFrame>
      <p:grpSp>
        <p:nvGrpSpPr>
          <p:cNvPr id="5" name="Group 4">
            <a:extLst>
              <a:ext uri="{FF2B5EF4-FFF2-40B4-BE49-F238E27FC236}">
                <a16:creationId xmlns:a16="http://schemas.microsoft.com/office/drawing/2014/main" id="{7C6A65AD-9810-DA55-C72B-5B32BB07D0EE}"/>
              </a:ext>
            </a:extLst>
          </p:cNvPr>
          <p:cNvGrpSpPr/>
          <p:nvPr/>
        </p:nvGrpSpPr>
        <p:grpSpPr>
          <a:xfrm>
            <a:off x="6631278" y="2210911"/>
            <a:ext cx="952128" cy="2976863"/>
            <a:chOff x="6723744" y="2344473"/>
            <a:chExt cx="952128" cy="2976863"/>
          </a:xfrm>
        </p:grpSpPr>
        <p:pic>
          <p:nvPicPr>
            <p:cNvPr id="6" name="Picture 5" descr="White Icons - A-45.png">
              <a:extLst>
                <a:ext uri="{FF2B5EF4-FFF2-40B4-BE49-F238E27FC236}">
                  <a16:creationId xmlns:a16="http://schemas.microsoft.com/office/drawing/2014/main" id="{21C527FD-723D-AC26-DD57-64620BDDE4F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BEBA8EAE-BF5A-486C-A8C5-ECC9F3942E4B}">
                  <a14:imgProps xmlns:a14="http://schemas.microsoft.com/office/drawing/2010/main">
                    <a14:imgLayer r:embed="rId4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36425" y="2344473"/>
              <a:ext cx="914400" cy="914400"/>
            </a:xfrm>
            <a:prstGeom prst="rect">
              <a:avLst/>
            </a:prstGeom>
          </p:spPr>
        </p:pic>
        <p:pic>
          <p:nvPicPr>
            <p:cNvPr id="7" name="Picture 6" descr="White Icons - C-09.png">
              <a:extLst>
                <a:ext uri="{FF2B5EF4-FFF2-40B4-BE49-F238E27FC236}">
                  <a16:creationId xmlns:a16="http://schemas.microsoft.com/office/drawing/2014/main" id="{CE8A2603-1015-0F8C-F903-A4673F7C11EF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23744" y="3083480"/>
              <a:ext cx="914400" cy="914400"/>
            </a:xfrm>
            <a:prstGeom prst="rect">
              <a:avLst/>
            </a:prstGeom>
            <a:noFill/>
          </p:spPr>
        </p:pic>
        <p:pic>
          <p:nvPicPr>
            <p:cNvPr id="8" name="Picture 7" descr="White Icons - C-37.png">
              <a:extLst>
                <a:ext uri="{FF2B5EF4-FFF2-40B4-BE49-F238E27FC236}">
                  <a16:creationId xmlns:a16="http://schemas.microsoft.com/office/drawing/2014/main" id="{4488F1F6-04A9-EA20-72E6-06A041083DC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duotone>
                <a:prstClr val="black"/>
                <a:schemeClr val="tx2">
                  <a:tint val="45000"/>
                  <a:satMod val="400000"/>
                </a:schemeClr>
              </a:duotone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-10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61472" y="3746616"/>
              <a:ext cx="914400" cy="914400"/>
            </a:xfrm>
            <a:prstGeom prst="rect">
              <a:avLst/>
            </a:prstGeom>
            <a:noFill/>
          </p:spPr>
        </p:pic>
        <p:pic>
          <p:nvPicPr>
            <p:cNvPr id="9" name="Picture 8" descr="White Icons - B-17.png">
              <a:extLst>
                <a:ext uri="{FF2B5EF4-FFF2-40B4-BE49-F238E27FC236}">
                  <a16:creationId xmlns:a16="http://schemas.microsoft.com/office/drawing/2014/main" id="{BCEF7144-DAFE-DC2D-4135-16C41F098C49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BEBA8EAE-BF5A-486C-A8C5-ECC9F3942E4B}">
                  <a14:imgProps xmlns:a14="http://schemas.microsoft.com/office/drawing/2010/main">
                    <a14:imgLayer r:embed="rId10">
                      <a14:imgEffect>
                        <a14:brightnessContrast bright="-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57387" y="4406936"/>
              <a:ext cx="914400" cy="914400"/>
            </a:xfrm>
            <a:prstGeom prst="rect">
              <a:avLst/>
            </a:prstGeom>
          </p:spPr>
        </p:pic>
      </p:grp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5573F69F-DF37-71AA-9463-6C75B0E68FB1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Introduction: Table of Contents and Methodolog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B5D0DF8-07DD-14D9-E291-C9E535EECB7B}"/>
              </a:ext>
            </a:extLst>
          </p:cNvPr>
          <p:cNvSpPr txBox="1"/>
          <p:nvPr/>
        </p:nvSpPr>
        <p:spPr>
          <a:xfrm>
            <a:off x="6631279" y="6364528"/>
            <a:ext cx="4949642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800" dirty="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The Effectiveness of Digital OOH Advertising” study was sponsored by The Foundation for Out of Home Advertising Research and Education (FOARE), a 501 (c) (3) not for profit, charitable organization. </a:t>
            </a:r>
            <a:endParaRPr lang="en-US" sz="800" dirty="0"/>
          </a:p>
        </p:txBody>
      </p:sp>
    </p:spTree>
    <p:extLst>
      <p:ext uri="{BB962C8B-B14F-4D97-AF65-F5344CB8AC3E}">
        <p14:creationId xmlns:p14="http://schemas.microsoft.com/office/powerpoint/2010/main" val="119417412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1674D027-300C-E898-ECF9-D06926ECEFF3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49005301"/>
              </p:ext>
            </p:extLst>
          </p:nvPr>
        </p:nvGraphicFramePr>
        <p:xfrm>
          <a:off x="1030596" y="2708585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B8DA7BA4-A11E-8426-68C0-E04ADD5456E0}"/>
              </a:ext>
            </a:extLst>
          </p:cNvPr>
          <p:cNvSpPr/>
          <p:nvPr/>
        </p:nvSpPr>
        <p:spPr>
          <a:xfrm>
            <a:off x="5716635" y="3760663"/>
            <a:ext cx="5161791" cy="2246946"/>
          </a:xfrm>
          <a:prstGeom prst="rect">
            <a:avLst/>
          </a:prstGeom>
          <a:solidFill>
            <a:schemeClr val="accent6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C8F07BB5-2852-EA88-EDE9-5308F5520348}"/>
              </a:ext>
            </a:extLst>
          </p:cNvPr>
          <p:cNvSpPr/>
          <p:nvPr/>
        </p:nvSpPr>
        <p:spPr>
          <a:xfrm>
            <a:off x="3357329" y="1540722"/>
            <a:ext cx="4752747" cy="2077740"/>
          </a:xfrm>
          <a:prstGeom prst="rect">
            <a:avLst/>
          </a:prstGeom>
          <a:solidFill>
            <a:schemeClr val="accent6">
              <a:lumMod val="20000"/>
              <a:lumOff val="80000"/>
              <a:alpha val="50196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aphicFrame>
        <p:nvGraphicFramePr>
          <p:cNvPr id="27" name="Chart 26">
            <a:extLst>
              <a:ext uri="{FF2B5EF4-FFF2-40B4-BE49-F238E27FC236}">
                <a16:creationId xmlns:a16="http://schemas.microsoft.com/office/drawing/2014/main" id="{B4C68277-E581-CD2E-A5F9-44043FEAD21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014939753"/>
              </p:ext>
            </p:extLst>
          </p:nvPr>
        </p:nvGraphicFramePr>
        <p:xfrm>
          <a:off x="4973333" y="2838534"/>
          <a:ext cx="5005163" cy="383144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 Category Deep Dive: Place-Based Digital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 70% of consumers have recently noticed place-based digital OOH ads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36726" y="1030082"/>
            <a:ext cx="11741914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77% notice place-based DOOH ads on their way to in-store shopping and 54% say place-based DOOH ads impact their in-store purchasing decisions.</a:t>
            </a:r>
          </a:p>
          <a:p>
            <a:endParaRPr lang="en-US" b="1">
              <a:solidFill>
                <a:schemeClr val="accent1"/>
              </a:solidFill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47503F6D-8948-BD9F-EB26-50E89016B2C1}"/>
              </a:ext>
            </a:extLst>
          </p:cNvPr>
          <p:cNvSpPr txBox="1"/>
          <p:nvPr/>
        </p:nvSpPr>
        <p:spPr>
          <a:xfrm>
            <a:off x="3693787" y="1761530"/>
            <a:ext cx="4045700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</a:t>
            </a:r>
            <a:r>
              <a:rPr lang="en-US" sz="1200" b="1" u="sng"/>
              <a:t>Place-Based Digital Ad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B06ABB3-5690-A321-B883-E2D6907FB978}"/>
              </a:ext>
            </a:extLst>
          </p:cNvPr>
          <p:cNvSpPr txBox="1"/>
          <p:nvPr/>
        </p:nvSpPr>
        <p:spPr>
          <a:xfrm>
            <a:off x="5318570" y="2211089"/>
            <a:ext cx="2541533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>
                <a:solidFill>
                  <a:schemeClr val="accent6"/>
                </a:solidFill>
              </a:rPr>
              <a:t>71% </a:t>
            </a:r>
            <a:r>
              <a:rPr lang="en-US" sz="1200">
                <a:solidFill>
                  <a:schemeClr val="accent6"/>
                </a:solidFill>
              </a:rPr>
              <a:t>i</a:t>
            </a:r>
            <a:r>
              <a:rPr lang="en-US" sz="1200"/>
              <a:t>n the </a:t>
            </a:r>
            <a:r>
              <a:rPr lang="en-US" sz="1200" b="1"/>
              <a:t>past 3 months</a:t>
            </a:r>
          </a:p>
          <a:p>
            <a:endParaRPr lang="en-US" sz="1200" b="1"/>
          </a:p>
          <a:p>
            <a:r>
              <a:rPr lang="en-US" sz="1600" b="1">
                <a:solidFill>
                  <a:schemeClr val="accent6"/>
                </a:solidFill>
              </a:rPr>
              <a:t>56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past month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sz="1200" b="1"/>
          </a:p>
          <a:p>
            <a:r>
              <a:rPr lang="en-US" sz="1600" b="1">
                <a:solidFill>
                  <a:schemeClr val="accent6"/>
                </a:solidFill>
              </a:rPr>
              <a:t>31% </a:t>
            </a:r>
            <a:r>
              <a:rPr lang="en-US" sz="1200"/>
              <a:t>in</a:t>
            </a:r>
            <a:r>
              <a:rPr lang="en-US" sz="1200" b="1"/>
              <a:t> </a:t>
            </a:r>
            <a:r>
              <a:rPr lang="en-US" sz="1200"/>
              <a:t>the</a:t>
            </a:r>
            <a:r>
              <a:rPr lang="en-US" sz="1200" b="1"/>
              <a:t> last week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0B2B2C2-CF85-1BF1-E60F-EFC4253E723E}"/>
              </a:ext>
            </a:extLst>
          </p:cNvPr>
          <p:cNvSpPr txBox="1"/>
          <p:nvPr/>
        </p:nvSpPr>
        <p:spPr>
          <a:xfrm>
            <a:off x="991690" y="3771890"/>
            <a:ext cx="404570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While Traveling To Shop In Person</a:t>
            </a:r>
            <a:br>
              <a:rPr lang="en-US" sz="1200" b="1"/>
            </a:br>
            <a:r>
              <a:rPr lang="en-US" sz="800" i="1"/>
              <a:t>Among those who have ever seen any DOOH ad, excluding not sure</a:t>
            </a:r>
            <a:endParaRPr lang="en-US" sz="1200" i="1"/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8E1FBF2C-E6EB-86F6-6E30-DB8D8B1A5B60}"/>
              </a:ext>
            </a:extLst>
          </p:cNvPr>
          <p:cNvSpPr txBox="1"/>
          <p:nvPr/>
        </p:nvSpPr>
        <p:spPr>
          <a:xfrm>
            <a:off x="5845392" y="3971945"/>
            <a:ext cx="4904279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400" b="1"/>
              <a:t>Place-Based DOOH Ad Impact on Purchasing Decision</a:t>
            </a:r>
            <a:br>
              <a:rPr lang="en-US" sz="1400" b="1"/>
            </a:br>
            <a:r>
              <a:rPr lang="en-US" sz="800" i="1"/>
              <a:t>% Significant/Somewhat of an Impact</a:t>
            </a:r>
            <a:br>
              <a:rPr lang="en-US" sz="800" i="1"/>
            </a:br>
            <a:r>
              <a:rPr lang="en-US" sz="800" i="1"/>
              <a:t>Among those who have ever seen any DOOH ad, excluding not sure</a:t>
            </a:r>
            <a:endParaRPr lang="en-US" sz="1200" i="1"/>
          </a:p>
        </p:txBody>
      </p:sp>
      <p:pic>
        <p:nvPicPr>
          <p:cNvPr id="25" name="Graphic 24" descr="Daily calendar outline">
            <a:extLst>
              <a:ext uri="{FF2B5EF4-FFF2-40B4-BE49-F238E27FC236}">
                <a16:creationId xmlns:a16="http://schemas.microsoft.com/office/drawing/2014/main" id="{792FE54E-83A8-D942-1020-E874901E8D0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910106" y="2266140"/>
            <a:ext cx="1063227" cy="1063227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CE06D6-7639-8B20-F14A-C0B68CE4790B}"/>
              </a:ext>
            </a:extLst>
          </p:cNvPr>
          <p:cNvCxnSpPr>
            <a:cxnSpLocks/>
          </p:cNvCxnSpPr>
          <p:nvPr/>
        </p:nvCxnSpPr>
        <p:spPr>
          <a:xfrm>
            <a:off x="998497" y="3656905"/>
            <a:ext cx="9879931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" name="TextBox 11">
            <a:extLst>
              <a:ext uri="{FF2B5EF4-FFF2-40B4-BE49-F238E27FC236}">
                <a16:creationId xmlns:a16="http://schemas.microsoft.com/office/drawing/2014/main" id="{A53CF66B-6540-3DF8-51AD-0FD3AE1E6F75}"/>
              </a:ext>
            </a:extLst>
          </p:cNvPr>
          <p:cNvSpPr txBox="1"/>
          <p:nvPr/>
        </p:nvSpPr>
        <p:spPr>
          <a:xfrm>
            <a:off x="177447" y="5851606"/>
            <a:ext cx="1107838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ALL QUALIFIED RESPONDENTS (n=1,023)</a:t>
            </a:r>
          </a:p>
          <a:p>
            <a:pPr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15 When was the last time you noticed advertising in each of the following types of digital out-of-home formats or locations?</a:t>
            </a:r>
            <a:b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00 Which of the following advertisement formats or locations do you find favorable? 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EXCLUDING NOT SURE (n=917)</a:t>
            </a: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20 How often do you notice digital out-of-home advertising messages in each of the following types of formats or environments when you are on your way to a store or just outside a store to shop in-person?</a:t>
            </a:r>
            <a:br>
              <a:rPr lang="en-US" sz="600">
                <a:solidFill>
                  <a:srgbClr val="939598"/>
                </a:solidFill>
                <a:latin typeface="Arial" panose="020B0604020202020204"/>
              </a:rPr>
            </a:br>
            <a:r>
              <a:rPr kumimoji="0" lang="en-US" sz="6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EVER SEEN ANY DOOH AD (n=902)</a:t>
            </a:r>
            <a:endParaRPr lang="en-US" sz="600">
              <a:solidFill>
                <a:srgbClr val="939598"/>
              </a:solidFill>
              <a:latin typeface="Arial" panose="020B0604020202020204"/>
            </a:endParaRPr>
          </a:p>
          <a:p>
            <a:pPr>
              <a:defRPr/>
            </a:pPr>
            <a:r>
              <a:rPr lang="en-US" sz="600">
                <a:solidFill>
                  <a:srgbClr val="939598"/>
                </a:solidFill>
                <a:latin typeface="Arial" panose="020B0604020202020204"/>
              </a:rPr>
              <a:t>Q235 How much of an impact, if any, do advertisements in each of the following types of digital formats have on your purchase decisions when shopping in-person?</a:t>
            </a:r>
          </a:p>
        </p:txBody>
      </p:sp>
      <p:pic>
        <p:nvPicPr>
          <p:cNvPr id="19" name="Graphic 18" descr="Brainstorm outline">
            <a:extLst>
              <a:ext uri="{FF2B5EF4-FFF2-40B4-BE49-F238E27FC236}">
                <a16:creationId xmlns:a16="http://schemas.microsoft.com/office/drawing/2014/main" id="{40A7E21E-47AA-040A-4863-C98119FAE96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6241790" y="4749828"/>
            <a:ext cx="1053921" cy="1053921"/>
          </a:xfrm>
          <a:prstGeom prst="rect">
            <a:avLst/>
          </a:prstGeom>
        </p:spPr>
      </p:pic>
      <p:sp>
        <p:nvSpPr>
          <p:cNvPr id="5" name="Speech Bubble: Rectangle 4">
            <a:extLst>
              <a:ext uri="{FF2B5EF4-FFF2-40B4-BE49-F238E27FC236}">
                <a16:creationId xmlns:a16="http://schemas.microsoft.com/office/drawing/2014/main" id="{152E0EE7-B13D-601C-F074-6370BC2DC0A5}"/>
              </a:ext>
            </a:extLst>
          </p:cNvPr>
          <p:cNvSpPr/>
          <p:nvPr/>
        </p:nvSpPr>
        <p:spPr>
          <a:xfrm>
            <a:off x="8585890" y="5056974"/>
            <a:ext cx="1942125" cy="703559"/>
          </a:xfrm>
          <a:prstGeom prst="wedgeRectCallout">
            <a:avLst>
              <a:gd name="adj1" fmla="val -64941"/>
              <a:gd name="adj2" fmla="val 32546"/>
            </a:avLst>
          </a:prstGeom>
          <a:noFill/>
          <a:ln>
            <a:solidFill>
              <a:schemeClr val="accent6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/>
                </a:solidFill>
              </a:rPr>
              <a:t>Purchase decisions of those using public transit (65%) and rail (66%) are more impacted.</a:t>
            </a:r>
          </a:p>
        </p:txBody>
      </p:sp>
    </p:spTree>
    <p:extLst>
      <p:ext uri="{BB962C8B-B14F-4D97-AF65-F5344CB8AC3E}">
        <p14:creationId xmlns:p14="http://schemas.microsoft.com/office/powerpoint/2010/main" val="136234846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5956271"/>
            <a:ext cx="9250262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HAS SEEN ANY DOOH AD IN P3M Place-Based (n=711)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0. Have you done any of the following after seeing any form of digital out-of-home advertising in the past three months?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SMARTPHONE USER HAS SEEN ANY DOOH AD IN P3M Place-Based (n=700)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1. Have you done any of the following on your smartphone or mobile device after seeing any form of digital out-of-home advertising in the past three months?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82CDFE8-341C-4B40-E4AB-A1A399224882}"/>
              </a:ext>
            </a:extLst>
          </p:cNvPr>
          <p:cNvSpPr txBox="1"/>
          <p:nvPr/>
        </p:nvSpPr>
        <p:spPr>
          <a:xfrm>
            <a:off x="633300" y="1675432"/>
            <a:ext cx="49025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ctions Taken by Place- Based DOOH Ad Viewers</a:t>
            </a:r>
            <a:endParaRPr lang="en-US" sz="1200" i="1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DE2932A-8A3B-AD70-C7EB-3B973F963CD8}"/>
              </a:ext>
            </a:extLst>
          </p:cNvPr>
          <p:cNvSpPr txBox="1"/>
          <p:nvPr/>
        </p:nvSpPr>
        <p:spPr>
          <a:xfrm>
            <a:off x="1136216" y="1860414"/>
            <a:ext cx="3905708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/>
              <a:t>Among those who have seen Digital Place-Based Ads in the P3M</a:t>
            </a:r>
            <a:endParaRPr lang="en-US" sz="1000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67263F6D-BA2E-A8B7-1424-9052C209242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40126829"/>
              </p:ext>
            </p:extLst>
          </p:nvPr>
        </p:nvGraphicFramePr>
        <p:xfrm>
          <a:off x="26712" y="2117629"/>
          <a:ext cx="7362570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2" name="TextBox 11">
            <a:extLst>
              <a:ext uri="{FF2B5EF4-FFF2-40B4-BE49-F238E27FC236}">
                <a16:creationId xmlns:a16="http://schemas.microsoft.com/office/drawing/2014/main" id="{C0A5BF03-A997-4FC0-CFAB-72E885D68C9F}"/>
              </a:ext>
            </a:extLst>
          </p:cNvPr>
          <p:cNvSpPr txBox="1"/>
          <p:nvPr/>
        </p:nvSpPr>
        <p:spPr>
          <a:xfrm>
            <a:off x="9701310" y="6646076"/>
            <a:ext cx="2153233" cy="12490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algn="l">
              <a:lnSpc>
                <a:spcPct val="110000"/>
              </a:lnSpc>
              <a:spcBef>
                <a:spcPts val="600"/>
              </a:spcBef>
              <a:spcAft>
                <a:spcPts val="900"/>
              </a:spcAft>
            </a:pPr>
            <a:r>
              <a:rPr lang="en-US" sz="800">
                <a:solidFill>
                  <a:schemeClr val="bg2"/>
                </a:solidFill>
              </a:rPr>
              <a:t>Lettering denotes significant difference at 95%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3A4A82F-4295-E0D9-90B4-93D9460494A9}"/>
              </a:ext>
            </a:extLst>
          </p:cNvPr>
          <p:cNvSpPr txBox="1"/>
          <p:nvPr/>
        </p:nvSpPr>
        <p:spPr>
          <a:xfrm>
            <a:off x="6352049" y="1675432"/>
            <a:ext cx="490255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Smartphone Actions Taken by Place-Based DOOH Ad Viewers</a:t>
            </a:r>
            <a:endParaRPr lang="en-US" sz="1200" i="1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39B414CF-1C2C-1D4E-9AF1-CFFFC548214D}"/>
              </a:ext>
            </a:extLst>
          </p:cNvPr>
          <p:cNvSpPr txBox="1"/>
          <p:nvPr/>
        </p:nvSpPr>
        <p:spPr>
          <a:xfrm>
            <a:off x="6493559" y="1840630"/>
            <a:ext cx="4649284" cy="2462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sz="1000" i="1"/>
              <a:t>Among smartphone users who have seen Digital Place-Based Ads in the P3M</a:t>
            </a:r>
            <a:endParaRPr lang="en-US" sz="1000"/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8AF88906-CAFA-3D8D-B706-E74EE6228A1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5660725"/>
              </p:ext>
            </p:extLst>
          </p:nvPr>
        </p:nvGraphicFramePr>
        <p:xfrm>
          <a:off x="6130218" y="2117629"/>
          <a:ext cx="5680344" cy="38037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1" name="Table 10">
            <a:extLst>
              <a:ext uri="{FF2B5EF4-FFF2-40B4-BE49-F238E27FC236}">
                <a16:creationId xmlns:a16="http://schemas.microsoft.com/office/drawing/2014/main" id="{B7A90769-1172-8346-79A9-55504F5CE36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07559501"/>
              </p:ext>
            </p:extLst>
          </p:nvPr>
        </p:nvGraphicFramePr>
        <p:xfrm>
          <a:off x="5821251" y="2121865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b="1">
                          <a:effectLst/>
                          <a:latin typeface="Helvetica" pitchFamily="2" charset="0"/>
                        </a:rPr>
                        <a:t>Any Action (NET)</a:t>
                      </a:r>
                      <a:endParaRPr lang="en-US" sz="900">
                        <a:effectLst/>
                        <a:latin typeface="Helvetica" pitchFamily="2" charset="0"/>
                      </a:endParaRP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effectLst/>
                          <a:latin typeface="Helvetica" pitchFamily="2" charset="0"/>
                        </a:rPr>
                        <a:t>Used online search to look up information about the advertiser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effectLst/>
                          <a:latin typeface="Helvetica" pitchFamily="2" charset="0"/>
                        </a:rPr>
                        <a:t>Visited an advertiser's websi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effectLst/>
                          <a:latin typeface="Helvetica" pitchFamily="2" charset="0"/>
                        </a:rPr>
                        <a:t>Visited an advertiser's social media sit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effectLst/>
                          <a:latin typeface="Helvetica" pitchFamily="2" charset="0"/>
                        </a:rPr>
                        <a:t>Downloaded or used an app shown in the advertisement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effectLst/>
                          <a:latin typeface="Helvetica" pitchFamily="2" charset="0"/>
                        </a:rPr>
                        <a:t>Watched an advertised show or program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>
                          <a:effectLst/>
                          <a:latin typeface="Helvetica" pitchFamily="2" charset="0"/>
                        </a:rPr>
                        <a:t>Accessed a coupon, discount code, or other information using a QR code, swipe, tap, or SMS/text technology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>
                          <a:effectLst/>
                          <a:latin typeface="Helvetica" pitchFamily="2" charset="0"/>
                        </a:rPr>
                        <a:t>Ordered an advertiser's product onlin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>
                          <a:effectLst/>
                          <a:latin typeface="Helvetica" pitchFamily="2" charset="0"/>
                        </a:rPr>
                        <a:t>Interacted with an advertisement such as sending a message, uploading a photo, or votin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>
                          <a:effectLst/>
                          <a:latin typeface="Helvetica" pitchFamily="2" charset="0"/>
                        </a:rPr>
                        <a:t>Called a phone number advertised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>
                          <a:effectLst/>
                          <a:latin typeface="Helvetica" pitchFamily="2" charset="0"/>
                        </a:rPr>
                        <a:t>Posted about the advertisement or product on a social media platform or blog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  <a:tr h="292608">
                <a:tc>
                  <a:txBody>
                    <a:bodyPr/>
                    <a:lstStyle/>
                    <a:p>
                      <a:pPr algn="r"/>
                      <a:r>
                        <a:rPr lang="en-US" sz="900" dirty="0"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0" marR="0" marT="0" marB="0"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050190483"/>
                  </a:ext>
                </a:extLst>
              </a:tr>
            </a:tbl>
          </a:graphicData>
        </a:graphic>
      </p:graphicFrame>
      <p:graphicFrame>
        <p:nvGraphicFramePr>
          <p:cNvPr id="14" name="Table 13">
            <a:extLst>
              <a:ext uri="{FF2B5EF4-FFF2-40B4-BE49-F238E27FC236}">
                <a16:creationId xmlns:a16="http://schemas.microsoft.com/office/drawing/2014/main" id="{64BDAC3C-9138-E4A4-DEBE-B740E2E9ACD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02018621"/>
              </p:ext>
            </p:extLst>
          </p:nvPr>
        </p:nvGraphicFramePr>
        <p:xfrm>
          <a:off x="100885" y="2113627"/>
          <a:ext cx="2938386" cy="380390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938386">
                  <a:extLst>
                    <a:ext uri="{9D8B030D-6E8A-4147-A177-3AD203B41FA5}">
                      <a16:colId xmlns:a16="http://schemas.microsoft.com/office/drawing/2014/main" val="2717989752"/>
                    </a:ext>
                  </a:extLst>
                </a:gridCol>
              </a:tblGrid>
              <a:tr h="316992">
                <a:tc>
                  <a:txBody>
                    <a:bodyPr/>
                    <a:lstStyle/>
                    <a:p>
                      <a:pPr algn="r" fontAlgn="ctr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ny action (NET)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395834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show or program on a TV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16387355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restaurant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5959731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alked about the advertisement or product with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6048325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Made a purchase at a store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85191997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Watched an advertised movie in the theater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14650479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Visited a store or business advertised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1594836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Recommended the advertised product or brand to others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70316101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Tuned to a radio station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23041409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Attended an advertised sporting event, festival, concert, performance, or other public event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926810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Something el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41994674"/>
                  </a:ext>
                </a:extLst>
              </a:tr>
              <a:tr h="316992">
                <a:tc>
                  <a:txBody>
                    <a:bodyPr/>
                    <a:lstStyle/>
                    <a:p>
                      <a:pPr algn="r" fontAlgn="b"/>
                      <a:r>
                        <a:rPr lang="en-US" sz="900" b="0" i="0" u="none" strike="noStrike" dirty="0">
                          <a:solidFill>
                            <a:srgbClr val="000000"/>
                          </a:solidFill>
                          <a:effectLst/>
                          <a:latin typeface="Helvetica" pitchFamily="2" charset="0"/>
                        </a:rPr>
                        <a:t>None of these</a:t>
                      </a:r>
                    </a:p>
                  </a:txBody>
                  <a:tcPr marL="9525" marR="9525" marT="9525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06289370"/>
                  </a:ext>
                </a:extLst>
              </a:tr>
            </a:tbl>
          </a:graphicData>
        </a:graphic>
      </p:graphicFrame>
      <p:sp>
        <p:nvSpPr>
          <p:cNvPr id="19" name="Title 2">
            <a:extLst>
              <a:ext uri="{FF2B5EF4-FFF2-40B4-BE49-F238E27FC236}">
                <a16:creationId xmlns:a16="http://schemas.microsoft.com/office/drawing/2014/main" id="{9AEAF72C-AE60-9AC2-AB17-0964FD89334E}"/>
              </a:ext>
            </a:extLst>
          </p:cNvPr>
          <p:cNvSpPr txBox="1">
            <a:spLocks/>
          </p:cNvSpPr>
          <p:nvPr/>
        </p:nvSpPr>
        <p:spPr>
          <a:xfrm>
            <a:off x="177449" y="518160"/>
            <a:ext cx="11403471" cy="433739"/>
          </a:xfrm>
          <a:prstGeom prst="rect">
            <a:avLst/>
          </a:prstGeom>
        </p:spPr>
        <p:txBody>
          <a:bodyPr/>
          <a:lstStyle>
            <a:lvl1pPr algn="l" defTabSz="609585" rtl="0" eaLnBrk="1" latinLnBrk="0" hangingPunct="1">
              <a:spcBef>
                <a:spcPct val="0"/>
              </a:spcBef>
              <a:buNone/>
              <a:defRPr sz="2400" b="0" i="0" kern="1200">
                <a:solidFill>
                  <a:schemeClr val="tx1"/>
                </a:solidFill>
                <a:latin typeface="Helvetica Light" panose="020B0403020202020204" pitchFamily="34" charset="0"/>
                <a:ea typeface="Helvetica Light" panose="020B0403020202020204" pitchFamily="34" charset="0"/>
                <a:cs typeface="Arial" charset="0"/>
              </a:defRPr>
            </a:lvl1pPr>
          </a:lstStyle>
          <a:p>
            <a:r>
              <a:rPr lang="en-US"/>
              <a:t>80% of consumers acted after recent place-based digital OOH ad exposur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5BB1EC2C-888A-86BD-3B65-7F7064BDB5B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5084" y="903499"/>
            <a:ext cx="11841831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Mobile device users are most likely to search online for information about advertisers or visit the advertiser websites.</a:t>
            </a:r>
          </a:p>
          <a:p>
            <a:endParaRPr lang="en-US" b="1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69354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84FA0A4-9D8E-0E4B-AD09-CC92AC4C9E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7667" y="2251304"/>
            <a:ext cx="9076666" cy="2355391"/>
          </a:xfrm>
        </p:spPr>
        <p:txBody>
          <a:bodyPr anchor="ctr"/>
          <a:lstStyle/>
          <a:p>
            <a:r>
              <a:rPr lang="en-US" sz="4800"/>
              <a:t>DOOH: Amplifying and Innovative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372902151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108CA-E2BE-12A1-2379-D2BAE0D6ED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Amplifying</a:t>
            </a:r>
          </a:p>
        </p:txBody>
      </p:sp>
    </p:spTree>
    <p:extLst>
      <p:ext uri="{BB962C8B-B14F-4D97-AF65-F5344CB8AC3E}">
        <p14:creationId xmlns:p14="http://schemas.microsoft.com/office/powerpoint/2010/main" val="723685052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: Amplify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irectional DOOH ads drive purchase behaviors among consumers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5733105"/>
            <a:ext cx="9250262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ALL QUALIFIED RESPONDENTS EXCLUDING NOT SURE (n=865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5. Have you recently noticed a digital out-of-home advertisement that gave you directions to a specific place of business </a:t>
            </a:r>
          </a:p>
          <a:p>
            <a:pPr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HAS SEEN DIRECTIONAL DOOH AD EXCLUDING NOT SURE (n=248)</a:t>
            </a:r>
          </a:p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10. Did you visit the specific place of business immediately (i.e., within 30 minutes) because of seeing the digital out-of-home advertisement?</a:t>
            </a:r>
          </a:p>
          <a:p>
            <a:pPr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VISTED PLACE OF BUSINESS EXCLUDING NOT SURE (n=115)</a:t>
            </a:r>
          </a:p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15. Did you make a purchase when you visited the location?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3EF03370-D31D-8FD5-D3CF-32058697FE7B}"/>
              </a:ext>
            </a:extLst>
          </p:cNvPr>
          <p:cNvGrpSpPr/>
          <p:nvPr/>
        </p:nvGrpSpPr>
        <p:grpSpPr>
          <a:xfrm>
            <a:off x="458979" y="2190052"/>
            <a:ext cx="10275014" cy="2646906"/>
            <a:chOff x="458979" y="1812211"/>
            <a:chExt cx="11845471" cy="3051465"/>
          </a:xfrm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AF32A05E-2B4D-C005-952A-1DF54F1E5F33}"/>
                </a:ext>
              </a:extLst>
            </p:cNvPr>
            <p:cNvGrpSpPr/>
            <p:nvPr/>
          </p:nvGrpSpPr>
          <p:grpSpPr>
            <a:xfrm>
              <a:off x="458979" y="1812211"/>
              <a:ext cx="3539876" cy="3051465"/>
              <a:chOff x="458979" y="1812211"/>
              <a:chExt cx="3539876" cy="3051465"/>
            </a:xfrm>
          </p:grpSpPr>
          <p:grpSp>
            <p:nvGrpSpPr>
              <p:cNvPr id="9" name="Group 8">
                <a:extLst>
                  <a:ext uri="{FF2B5EF4-FFF2-40B4-BE49-F238E27FC236}">
                    <a16:creationId xmlns:a16="http://schemas.microsoft.com/office/drawing/2014/main" id="{536864F4-5829-41F1-1A2A-A982854E672E}"/>
                  </a:ext>
                </a:extLst>
              </p:cNvPr>
              <p:cNvGrpSpPr/>
              <p:nvPr/>
            </p:nvGrpSpPr>
            <p:grpSpPr>
              <a:xfrm>
                <a:off x="458979" y="1812211"/>
                <a:ext cx="3539876" cy="3051465"/>
                <a:chOff x="316104" y="1844471"/>
                <a:chExt cx="3539876" cy="3051465"/>
              </a:xfrm>
            </p:grpSpPr>
            <p:sp>
              <p:nvSpPr>
                <p:cNvPr id="7" name="Arrow: Right 6">
                  <a:extLst>
                    <a:ext uri="{FF2B5EF4-FFF2-40B4-BE49-F238E27FC236}">
                      <a16:creationId xmlns:a16="http://schemas.microsoft.com/office/drawing/2014/main" id="{F0B92341-68FF-E8E2-1C4C-D66EA5F71639}"/>
                    </a:ext>
                  </a:extLst>
                </p:cNvPr>
                <p:cNvSpPr/>
                <p:nvPr/>
              </p:nvSpPr>
              <p:spPr>
                <a:xfrm>
                  <a:off x="2770684" y="2680099"/>
                  <a:ext cx="1085296" cy="895668"/>
                </a:xfrm>
                <a:prstGeom prst="rightArrow">
                  <a:avLst/>
                </a:prstGeom>
                <a:solidFill>
                  <a:schemeClr val="accent4">
                    <a:lumMod val="20000"/>
                    <a:lumOff val="80000"/>
                  </a:schemeClr>
                </a:solidFill>
                <a:ln>
                  <a:solidFill>
                    <a:schemeClr val="accent4">
                      <a:lumMod val="20000"/>
                      <a:lumOff val="8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aphicFrame>
              <p:nvGraphicFramePr>
                <p:cNvPr id="6" name="Chart 5">
                  <a:extLst>
                    <a:ext uri="{FF2B5EF4-FFF2-40B4-BE49-F238E27FC236}">
                      <a16:creationId xmlns:a16="http://schemas.microsoft.com/office/drawing/2014/main" id="{943AE06E-FFB4-4CD3-3EBC-02EC08F7BAEF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890595846"/>
                    </p:ext>
                  </p:extLst>
                </p:nvPr>
              </p:nvGraphicFramePr>
              <p:xfrm>
                <a:off x="316104" y="1844471"/>
                <a:ext cx="2902857" cy="305146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2"/>
                </a:graphicData>
              </a:graphic>
            </p:graphicFrame>
          </p:grpSp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CECE05AF-A479-CC3A-96D0-8F41DE066EFA}"/>
                  </a:ext>
                </a:extLst>
              </p:cNvPr>
              <p:cNvSpPr txBox="1"/>
              <p:nvPr/>
            </p:nvSpPr>
            <p:spPr>
              <a:xfrm>
                <a:off x="1413346" y="3081842"/>
                <a:ext cx="1085296" cy="5322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/>
                  <a:t>30%</a:t>
                </a:r>
                <a:endParaRPr lang="en-US" b="1"/>
              </a:p>
            </p:txBody>
          </p:sp>
        </p:grpSp>
        <p:grpSp>
          <p:nvGrpSpPr>
            <p:cNvPr id="23" name="Group 22">
              <a:extLst>
                <a:ext uri="{FF2B5EF4-FFF2-40B4-BE49-F238E27FC236}">
                  <a16:creationId xmlns:a16="http://schemas.microsoft.com/office/drawing/2014/main" id="{58A02ACB-742D-45F6-0833-AD6F284ABCFD}"/>
                </a:ext>
              </a:extLst>
            </p:cNvPr>
            <p:cNvGrpSpPr/>
            <p:nvPr/>
          </p:nvGrpSpPr>
          <p:grpSpPr>
            <a:xfrm>
              <a:off x="5615020" y="2032228"/>
              <a:ext cx="2847521" cy="2521872"/>
              <a:chOff x="5434546" y="1967707"/>
              <a:chExt cx="2847521" cy="2521872"/>
            </a:xfrm>
          </p:grpSpPr>
          <p:grpSp>
            <p:nvGrpSpPr>
              <p:cNvPr id="10" name="Group 9">
                <a:extLst>
                  <a:ext uri="{FF2B5EF4-FFF2-40B4-BE49-F238E27FC236}">
                    <a16:creationId xmlns:a16="http://schemas.microsoft.com/office/drawing/2014/main" id="{F7633734-FD61-E0FD-AF2A-D1EAB626E542}"/>
                  </a:ext>
                </a:extLst>
              </p:cNvPr>
              <p:cNvGrpSpPr/>
              <p:nvPr/>
            </p:nvGrpSpPr>
            <p:grpSpPr>
              <a:xfrm>
                <a:off x="5434546" y="1967707"/>
                <a:ext cx="2847521" cy="2521872"/>
                <a:chOff x="1202426" y="1712090"/>
                <a:chExt cx="3445498" cy="3051465"/>
              </a:xfrm>
            </p:grpSpPr>
            <p:sp>
              <p:nvSpPr>
                <p:cNvPr id="11" name="Arrow: Right 10">
                  <a:extLst>
                    <a:ext uri="{FF2B5EF4-FFF2-40B4-BE49-F238E27FC236}">
                      <a16:creationId xmlns:a16="http://schemas.microsoft.com/office/drawing/2014/main" id="{46BD0811-1BC5-CAF1-64DD-7D0EFD112884}"/>
                    </a:ext>
                  </a:extLst>
                </p:cNvPr>
                <p:cNvSpPr/>
                <p:nvPr/>
              </p:nvSpPr>
              <p:spPr>
                <a:xfrm>
                  <a:off x="3562629" y="2858840"/>
                  <a:ext cx="1085295" cy="895668"/>
                </a:xfrm>
                <a:prstGeom prst="rightArrow">
                  <a:avLst/>
                </a:prstGeom>
                <a:solidFill>
                  <a:schemeClr val="accent4"/>
                </a:solidFill>
                <a:ln>
                  <a:solidFill>
                    <a:schemeClr val="accent4"/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US"/>
                </a:p>
              </p:txBody>
            </p:sp>
            <p:graphicFrame>
              <p:nvGraphicFramePr>
                <p:cNvPr id="12" name="Chart 11">
                  <a:extLst>
                    <a:ext uri="{FF2B5EF4-FFF2-40B4-BE49-F238E27FC236}">
                      <a16:creationId xmlns:a16="http://schemas.microsoft.com/office/drawing/2014/main" id="{718A0117-6C3C-B740-E326-4A20B2E02C0D}"/>
                    </a:ext>
                  </a:extLst>
                </p:cNvPr>
                <p:cNvGraphicFramePr/>
                <p:nvPr>
                  <p:extLst>
                    <p:ext uri="{D42A27DB-BD31-4B8C-83A1-F6EECF244321}">
                      <p14:modId xmlns:p14="http://schemas.microsoft.com/office/powerpoint/2010/main" val="3004007178"/>
                    </p:ext>
                  </p:extLst>
                </p:nvPr>
              </p:nvGraphicFramePr>
              <p:xfrm>
                <a:off x="1202426" y="1712090"/>
                <a:ext cx="2902856" cy="3051465"/>
              </p:xfrm>
              <a:graphic>
                <a:graphicData uri="http://schemas.openxmlformats.org/drawingml/2006/chart">
                  <c:chart xmlns:c="http://schemas.openxmlformats.org/drawingml/2006/chart" xmlns:r="http://schemas.openxmlformats.org/officeDocument/2006/relationships" r:id="rId3"/>
                </a:graphicData>
              </a:graphic>
            </p:graphicFrame>
          </p:grpSp>
          <p:sp>
            <p:nvSpPr>
              <p:cNvPr id="18" name="TextBox 17">
                <a:extLst>
                  <a:ext uri="{FF2B5EF4-FFF2-40B4-BE49-F238E27FC236}">
                    <a16:creationId xmlns:a16="http://schemas.microsoft.com/office/drawing/2014/main" id="{851A70A2-6619-03E3-41E9-C6F6C7ADCCDC}"/>
                  </a:ext>
                </a:extLst>
              </p:cNvPr>
              <p:cNvSpPr txBox="1"/>
              <p:nvPr/>
            </p:nvSpPr>
            <p:spPr>
              <a:xfrm>
                <a:off x="6146865" y="2942022"/>
                <a:ext cx="1144514" cy="5322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/>
                  <a:t>51%</a:t>
                </a:r>
                <a:endParaRPr lang="en-US" b="1"/>
              </a:p>
            </p:txBody>
          </p:sp>
        </p:grpSp>
        <p:grpSp>
          <p:nvGrpSpPr>
            <p:cNvPr id="25" name="Group 24">
              <a:extLst>
                <a:ext uri="{FF2B5EF4-FFF2-40B4-BE49-F238E27FC236}">
                  <a16:creationId xmlns:a16="http://schemas.microsoft.com/office/drawing/2014/main" id="{E5027F14-94F9-336B-DD91-A63BED5F3CAC}"/>
                </a:ext>
              </a:extLst>
            </p:cNvPr>
            <p:cNvGrpSpPr/>
            <p:nvPr/>
          </p:nvGrpSpPr>
          <p:grpSpPr>
            <a:xfrm>
              <a:off x="10123491" y="2146864"/>
              <a:ext cx="2180959" cy="2292611"/>
              <a:chOff x="10123491" y="2146864"/>
              <a:chExt cx="2180959" cy="2292611"/>
            </a:xfrm>
          </p:grpSpPr>
          <p:graphicFrame>
            <p:nvGraphicFramePr>
              <p:cNvPr id="15" name="Chart 14">
                <a:extLst>
                  <a:ext uri="{FF2B5EF4-FFF2-40B4-BE49-F238E27FC236}">
                    <a16:creationId xmlns:a16="http://schemas.microsoft.com/office/drawing/2014/main" id="{D4A3D962-377B-A7FF-4E25-257ED42C12B0}"/>
                  </a:ext>
                </a:extLst>
              </p:cNvPr>
              <p:cNvGraphicFramePr/>
              <p:nvPr>
                <p:extLst>
                  <p:ext uri="{D42A27DB-BD31-4B8C-83A1-F6EECF244321}">
                    <p14:modId xmlns:p14="http://schemas.microsoft.com/office/powerpoint/2010/main" val="1671221192"/>
                  </p:ext>
                </p:extLst>
              </p:nvPr>
            </p:nvGraphicFramePr>
            <p:xfrm>
              <a:off x="10123491" y="2146864"/>
              <a:ext cx="2180959" cy="2292611"/>
            </p:xfrm>
            <a:graphic>
              <a:graphicData uri="http://schemas.openxmlformats.org/drawingml/2006/chart">
                <c:chart xmlns:c="http://schemas.openxmlformats.org/drawingml/2006/chart" xmlns:r="http://schemas.openxmlformats.org/officeDocument/2006/relationships" r:id="rId4"/>
              </a:graphicData>
            </a:graphic>
          </p:graphicFrame>
          <p:sp>
            <p:nvSpPr>
              <p:cNvPr id="19" name="TextBox 18">
                <a:extLst>
                  <a:ext uri="{FF2B5EF4-FFF2-40B4-BE49-F238E27FC236}">
                    <a16:creationId xmlns:a16="http://schemas.microsoft.com/office/drawing/2014/main" id="{62C5DF33-05C0-99E8-5FE2-BB8D518783EE}"/>
                  </a:ext>
                </a:extLst>
              </p:cNvPr>
              <p:cNvSpPr txBox="1"/>
              <p:nvPr/>
            </p:nvSpPr>
            <p:spPr>
              <a:xfrm>
                <a:off x="10717631" y="3006543"/>
                <a:ext cx="1131007" cy="53222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US" sz="2400" b="1"/>
                  <a:t>93%</a:t>
                </a:r>
                <a:endParaRPr lang="en-US" b="1"/>
              </a:p>
            </p:txBody>
          </p:sp>
        </p:grpSp>
      </p:grpSp>
      <p:sp>
        <p:nvSpPr>
          <p:cNvPr id="22" name="TextBox 21">
            <a:extLst>
              <a:ext uri="{FF2B5EF4-FFF2-40B4-BE49-F238E27FC236}">
                <a16:creationId xmlns:a16="http://schemas.microsoft.com/office/drawing/2014/main" id="{114E2750-E679-9D8C-81FA-967648485BAD}"/>
              </a:ext>
            </a:extLst>
          </p:cNvPr>
          <p:cNvSpPr txBox="1"/>
          <p:nvPr/>
        </p:nvSpPr>
        <p:spPr>
          <a:xfrm>
            <a:off x="-602284" y="1716967"/>
            <a:ext cx="4748067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Noticed Directional DOOH Ad </a:t>
            </a:r>
          </a:p>
          <a:p>
            <a:pPr algn="ctr"/>
            <a:r>
              <a:rPr lang="en-US" sz="1200" b="1"/>
              <a:t>to Place of Business</a:t>
            </a:r>
          </a:p>
          <a:p>
            <a:pPr algn="ctr"/>
            <a:r>
              <a:rPr lang="en-US" sz="900" i="1"/>
              <a:t>excluding not sure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7197DDA3-A876-DC5B-887E-5EC38A25BE9F}"/>
              </a:ext>
            </a:extLst>
          </p:cNvPr>
          <p:cNvSpPr txBox="1"/>
          <p:nvPr/>
        </p:nvSpPr>
        <p:spPr>
          <a:xfrm>
            <a:off x="3626427" y="1716817"/>
            <a:ext cx="4748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Immediately Visited Place of Business</a:t>
            </a:r>
          </a:p>
          <a:p>
            <a:pPr algn="ctr"/>
            <a:r>
              <a:rPr lang="en-US" sz="800" i="1"/>
              <a:t>Among those who saw directional DOOH ad</a:t>
            </a:r>
          </a:p>
          <a:p>
            <a:pPr algn="ctr"/>
            <a:r>
              <a:rPr lang="en-US" sz="800" i="1"/>
              <a:t>excluding not sure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5D67D0F0-B055-C2AC-191D-186A09FDE78F}"/>
              </a:ext>
            </a:extLst>
          </p:cNvPr>
          <p:cNvSpPr txBox="1"/>
          <p:nvPr/>
        </p:nvSpPr>
        <p:spPr>
          <a:xfrm>
            <a:off x="7333995" y="1716817"/>
            <a:ext cx="474806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% Made Purchase at Place of Business</a:t>
            </a:r>
          </a:p>
          <a:p>
            <a:pPr algn="ctr"/>
            <a:r>
              <a:rPr lang="en-US" sz="800" i="1"/>
              <a:t>Among those immediately visited the place of business</a:t>
            </a:r>
          </a:p>
          <a:p>
            <a:pPr algn="ctr"/>
            <a:r>
              <a:rPr lang="en-US" sz="800" i="1"/>
              <a:t>excluding not sure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CE936926-BFAA-B1F6-CD63-4C177474AEF1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7449" y="951900"/>
            <a:ext cx="11782903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Among the third who have recently noticed directional DOOH ads, half visited the place of business immediately and nearly all of those made a purchase.</a:t>
            </a:r>
          </a:p>
        </p:txBody>
      </p:sp>
      <p:sp>
        <p:nvSpPr>
          <p:cNvPr id="4" name="Speech Bubble: Rectangle 3">
            <a:extLst>
              <a:ext uri="{FF2B5EF4-FFF2-40B4-BE49-F238E27FC236}">
                <a16:creationId xmlns:a16="http://schemas.microsoft.com/office/drawing/2014/main" id="{E77173DE-408F-45A4-C85D-DD34B685C428}"/>
              </a:ext>
            </a:extLst>
          </p:cNvPr>
          <p:cNvSpPr/>
          <p:nvPr/>
        </p:nvSpPr>
        <p:spPr>
          <a:xfrm>
            <a:off x="2860453" y="4504716"/>
            <a:ext cx="1942125" cy="954107"/>
          </a:xfrm>
          <a:prstGeom prst="wedgeRectCallout">
            <a:avLst>
              <a:gd name="adj1" fmla="val -48090"/>
              <a:gd name="adj2" fmla="val -97649"/>
            </a:avLst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/>
                </a:solidFill>
              </a:rPr>
              <a:t>Younger (Gen Z 41%, Millennial 41%), public transit users (46%), and rail users (55%) are more likely to notice directional DOOH.</a:t>
            </a:r>
          </a:p>
        </p:txBody>
      </p:sp>
      <p:sp>
        <p:nvSpPr>
          <p:cNvPr id="16" name="Speech Bubble: Rectangle 15">
            <a:extLst>
              <a:ext uri="{FF2B5EF4-FFF2-40B4-BE49-F238E27FC236}">
                <a16:creationId xmlns:a16="http://schemas.microsoft.com/office/drawing/2014/main" id="{1C3D74CE-5613-6DA3-18E1-14EB2C295D6D}"/>
              </a:ext>
            </a:extLst>
          </p:cNvPr>
          <p:cNvSpPr/>
          <p:nvPr/>
        </p:nvSpPr>
        <p:spPr>
          <a:xfrm>
            <a:off x="6623415" y="4532688"/>
            <a:ext cx="1942125" cy="954107"/>
          </a:xfrm>
          <a:prstGeom prst="wedgeRectCallout">
            <a:avLst>
              <a:gd name="adj1" fmla="val -39665"/>
              <a:gd name="adj2" fmla="val -99327"/>
            </a:avLst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/>
                </a:solidFill>
              </a:rPr>
              <a:t>Public transit users (65%) and rail users (73%) are more likely to visit the place of business immediately.</a:t>
            </a:r>
          </a:p>
        </p:txBody>
      </p:sp>
    </p:spTree>
    <p:extLst>
      <p:ext uri="{BB962C8B-B14F-4D97-AF65-F5344CB8AC3E}">
        <p14:creationId xmlns:p14="http://schemas.microsoft.com/office/powerpoint/2010/main" val="111426911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: Amplify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OH ads with cost-saving opportunities for groceries, restaurants most likely to engage consumers</a:t>
            </a: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2694B650-D95E-227A-F03D-6A01AFBFA459}"/>
              </a:ext>
            </a:extLst>
          </p:cNvPr>
          <p:cNvSpPr txBox="1"/>
          <p:nvPr/>
        </p:nvSpPr>
        <p:spPr>
          <a:xfrm>
            <a:off x="177447" y="6109007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 ALL QUALIFIED RESPONDENTS (n=1,02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20. Would you be more likely or less likely to notice a digital out-of-home advertisement if it…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FB3DC87-1BA4-8967-82BB-007EDAF29E0D}"/>
              </a:ext>
            </a:extLst>
          </p:cNvPr>
          <p:cNvSpPr txBox="1"/>
          <p:nvPr/>
        </p:nvSpPr>
        <p:spPr>
          <a:xfrm>
            <a:off x="3667940" y="1619713"/>
            <a:ext cx="4748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Likelihood To Notice DOOH Ads By Content Attributes</a:t>
            </a:r>
            <a:endParaRPr lang="en-US" sz="1200" b="1" u="sng"/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1C4CD56A-D9BB-83C5-D112-1E1687CF7C6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45748405"/>
              </p:ext>
            </p:extLst>
          </p:nvPr>
        </p:nvGraphicFramePr>
        <p:xfrm>
          <a:off x="227141" y="1929158"/>
          <a:ext cx="11313554" cy="43396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4258C4D5-2345-0A2E-B455-0EEA361B5529}"/>
              </a:ext>
            </a:extLst>
          </p:cNvPr>
          <p:cNvSpPr txBox="1"/>
          <p:nvPr/>
        </p:nvSpPr>
        <p:spPr>
          <a:xfrm>
            <a:off x="10475430" y="2173926"/>
            <a:ext cx="1604281" cy="246221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0" u="none" strike="noStrike" kern="1200" cap="none" spc="0" normalizeH="0" baseline="0" noProof="0">
                <a:ln>
                  <a:noFill/>
                </a:ln>
                <a:solidFill>
                  <a:srgbClr val="44474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arge urban areas (60%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E9C9FC7-19DD-6FEB-F812-7DF0327DBEE6}"/>
              </a:ext>
            </a:extLst>
          </p:cNvPr>
          <p:cNvSpPr txBox="1"/>
          <p:nvPr/>
        </p:nvSpPr>
        <p:spPr>
          <a:xfrm>
            <a:off x="10475430" y="2476143"/>
            <a:ext cx="1604281" cy="400110"/>
          </a:xfrm>
          <a:prstGeom prst="rect">
            <a:avLst/>
          </a:prstGeom>
          <a:noFill/>
          <a:ln>
            <a:solidFill>
              <a:schemeClr val="accent4"/>
            </a:solidFill>
          </a:ln>
        </p:spPr>
        <p:txBody>
          <a:bodyPr wrap="square" rtlCol="0">
            <a:spAutoFit/>
          </a:bodyPr>
          <a:lstStyle/>
          <a:p>
            <a:r>
              <a:rPr lang="en-US" sz="1000">
                <a:solidFill>
                  <a:schemeClr val="bg2"/>
                </a:solidFill>
              </a:rPr>
              <a:t>Large urban areas (63%)</a:t>
            </a:r>
          </a:p>
          <a:p>
            <a:r>
              <a:rPr lang="en-US" sz="1000">
                <a:solidFill>
                  <a:schemeClr val="bg2"/>
                </a:solidFill>
              </a:rPr>
              <a:t>Rail users (67%)</a:t>
            </a:r>
          </a:p>
        </p:txBody>
      </p:sp>
    </p:spTree>
    <p:extLst>
      <p:ext uri="{BB962C8B-B14F-4D97-AF65-F5344CB8AC3E}">
        <p14:creationId xmlns:p14="http://schemas.microsoft.com/office/powerpoint/2010/main" val="37620589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: Amplify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OOH ads that are entertaining or feature a favorite product or brand make consumers more likely to share the ad or its message content</a:t>
            </a: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2694B650-D95E-227A-F03D-6A01AFBFA459}"/>
              </a:ext>
            </a:extLst>
          </p:cNvPr>
          <p:cNvSpPr txBox="1"/>
          <p:nvPr/>
        </p:nvSpPr>
        <p:spPr>
          <a:xfrm>
            <a:off x="177447" y="6109007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 ALL QUALIFIED RESPONDENTS (n=1,02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2. How likely are you to share a digital out-of-home ad or its message content with others based on the following?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48AB4C6-119F-B27C-EA54-08C9AB59E9C4}"/>
              </a:ext>
            </a:extLst>
          </p:cNvPr>
          <p:cNvSpPr txBox="1"/>
          <p:nvPr/>
        </p:nvSpPr>
        <p:spPr>
          <a:xfrm>
            <a:off x="3667940" y="1619713"/>
            <a:ext cx="4748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Likelihood To Share DOOH Ads By Content Attributes</a:t>
            </a:r>
            <a:endParaRPr lang="en-US" sz="1200" b="1" u="sng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CA50C7A9-9AC3-E60B-8EEE-2ED574A20C87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21441017"/>
              </p:ext>
            </p:extLst>
          </p:nvPr>
        </p:nvGraphicFramePr>
        <p:xfrm>
          <a:off x="371049" y="2000143"/>
          <a:ext cx="11572856" cy="400543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33670465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: Amplify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Half of consumers say clever or funny DOOH ads would increase their likelihood of taking action</a:t>
            </a: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2694B650-D95E-227A-F03D-6A01AFBFA459}"/>
              </a:ext>
            </a:extLst>
          </p:cNvPr>
          <p:cNvSpPr txBox="1"/>
          <p:nvPr/>
        </p:nvSpPr>
        <p:spPr>
          <a:xfrm>
            <a:off x="177447" y="6109007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 ALL QUALIFIED RESPONDENTS (n=1,02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03. Which of the following would increase the likelihood of you taking an action after seeing a digital out-of-home ad?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6BB6948-B5F6-3879-CC7C-82AE42BC97B4}"/>
              </a:ext>
            </a:extLst>
          </p:cNvPr>
          <p:cNvSpPr txBox="1"/>
          <p:nvPr/>
        </p:nvSpPr>
        <p:spPr>
          <a:xfrm>
            <a:off x="4313399" y="1712308"/>
            <a:ext cx="474806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Impact of Ad Creativity Increasing Consumer Likelihood to Act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8A28D878-1E51-18E3-8836-4B026081C72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80059656"/>
              </p:ext>
            </p:extLst>
          </p:nvPr>
        </p:nvGraphicFramePr>
        <p:xfrm>
          <a:off x="-247727" y="2367760"/>
          <a:ext cx="7440740" cy="35423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TextBox 13">
            <a:extLst>
              <a:ext uri="{FF2B5EF4-FFF2-40B4-BE49-F238E27FC236}">
                <a16:creationId xmlns:a16="http://schemas.microsoft.com/office/drawing/2014/main" id="{8D492025-42BA-159D-D963-FA0E31BC3BA9}"/>
              </a:ext>
            </a:extLst>
          </p:cNvPr>
          <p:cNvSpPr txBox="1"/>
          <p:nvPr/>
        </p:nvSpPr>
        <p:spPr>
          <a:xfrm>
            <a:off x="8115804" y="2085657"/>
            <a:ext cx="328721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US"/>
              <a:t>% Any Aspect</a:t>
            </a:r>
          </a:p>
        </p:txBody>
      </p:sp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56CCC516-7C26-389B-40F8-53635D27AF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42593902"/>
              </p:ext>
            </p:extLst>
          </p:nvPr>
        </p:nvGraphicFramePr>
        <p:xfrm>
          <a:off x="7364896" y="2325610"/>
          <a:ext cx="3715489" cy="3580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A768E109-6058-CBAA-2B5D-834F0E7391D7}"/>
              </a:ext>
            </a:extLst>
          </p:cNvPr>
          <p:cNvSpPr txBox="1"/>
          <p:nvPr/>
        </p:nvSpPr>
        <p:spPr>
          <a:xfrm>
            <a:off x="9061466" y="5906100"/>
            <a:ext cx="1859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*</a:t>
            </a:r>
            <a:r>
              <a:rPr lang="en-US" sz="900"/>
              <a:t> </a:t>
            </a:r>
            <a:r>
              <a:rPr lang="en-US" sz="900" b="1"/>
              <a:t>Past Month</a:t>
            </a:r>
          </a:p>
          <a:p>
            <a:r>
              <a:rPr lang="en-US" sz="900" b="1"/>
              <a:t>** Past 12 Months</a:t>
            </a:r>
          </a:p>
        </p:txBody>
      </p:sp>
    </p:spTree>
    <p:extLst>
      <p:ext uri="{BB962C8B-B14F-4D97-AF65-F5344CB8AC3E}">
        <p14:creationId xmlns:p14="http://schemas.microsoft.com/office/powerpoint/2010/main" val="294576533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A108CA-E2BE-12A1-2379-D2BAE0D6EDD3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/>
              <a:t>Innovative</a:t>
            </a:r>
          </a:p>
        </p:txBody>
      </p:sp>
    </p:spTree>
    <p:extLst>
      <p:ext uri="{BB962C8B-B14F-4D97-AF65-F5344CB8AC3E}">
        <p14:creationId xmlns:p14="http://schemas.microsoft.com/office/powerpoint/2010/main" val="40000094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: Innovativ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Over 80% of consumers say dynamic DOOH ads with deals on groceries, at restaurants, and traffic, weather or time related updates are most usefu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07500" y="1261221"/>
            <a:ext cx="11403471" cy="378137"/>
          </a:xfrm>
        </p:spPr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More than 2 in 5 say deals on groceries and traffic updates would be </a:t>
            </a:r>
            <a:r>
              <a:rPr lang="en-US" b="1" i="1">
                <a:solidFill>
                  <a:schemeClr val="accent1"/>
                </a:solidFill>
              </a:rPr>
              <a:t>very </a:t>
            </a:r>
            <a:r>
              <a:rPr lang="en-US" b="1">
                <a:solidFill>
                  <a:schemeClr val="accent1"/>
                </a:solidFill>
              </a:rPr>
              <a:t>useful, which is more than any other information type.</a:t>
            </a: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2694B650-D95E-227A-F03D-6A01AFBFA459}"/>
              </a:ext>
            </a:extLst>
          </p:cNvPr>
          <p:cNvSpPr txBox="1"/>
          <p:nvPr/>
        </p:nvSpPr>
        <p:spPr>
          <a:xfrm>
            <a:off x="177447" y="6109007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 ALL QUALIFIED RESPONDENTS (n=1,02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25. How useful would it be to you if a digital out-of-home advertisement displayed the following types of information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D3A510C-F747-1F76-41F3-719078FE047A}"/>
              </a:ext>
            </a:extLst>
          </p:cNvPr>
          <p:cNvSpPr txBox="1"/>
          <p:nvPr/>
        </p:nvSpPr>
        <p:spPr>
          <a:xfrm>
            <a:off x="3721966" y="1688849"/>
            <a:ext cx="4748067" cy="4385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Usefulness of Dynamic DOOH Ad Content</a:t>
            </a:r>
            <a:br>
              <a:rPr lang="en-US" sz="1200" b="1"/>
            </a:br>
            <a:r>
              <a:rPr lang="en-US" sz="1000" i="1"/>
              <a:t>% Very/Somewhat Useful</a:t>
            </a:r>
            <a:endParaRPr lang="en-US" sz="1200" i="1" u="sng"/>
          </a:p>
        </p:txBody>
      </p:sp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5C65ADD9-DEA9-030A-44F3-8CB7D32CCF0C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866175922"/>
              </p:ext>
            </p:extLst>
          </p:nvPr>
        </p:nvGraphicFramePr>
        <p:xfrm>
          <a:off x="0" y="2341879"/>
          <a:ext cx="12614251" cy="376712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Box 18">
            <a:extLst>
              <a:ext uri="{FF2B5EF4-FFF2-40B4-BE49-F238E27FC236}">
                <a16:creationId xmlns:a16="http://schemas.microsoft.com/office/drawing/2014/main" id="{8D19CB93-7147-52C2-F11B-6DDF9CB12DA8}"/>
              </a:ext>
            </a:extLst>
          </p:cNvPr>
          <p:cNvSpPr txBox="1"/>
          <p:nvPr/>
        </p:nvSpPr>
        <p:spPr>
          <a:xfrm>
            <a:off x="10117517" y="3413631"/>
            <a:ext cx="88259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>
                <a:solidFill>
                  <a:schemeClr val="accent4"/>
                </a:solidFill>
              </a:rPr>
              <a:t>66%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48E4BAF7-C295-3EB9-F8F2-4A86D1987EE2}"/>
              </a:ext>
            </a:extLst>
          </p:cNvPr>
          <p:cNvGrpSpPr/>
          <p:nvPr/>
        </p:nvGrpSpPr>
        <p:grpSpPr>
          <a:xfrm>
            <a:off x="277184" y="2919908"/>
            <a:ext cx="11705962" cy="793775"/>
            <a:chOff x="277184" y="2919908"/>
            <a:chExt cx="11705962" cy="793775"/>
          </a:xfrm>
        </p:grpSpPr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D0D50FFA-3565-7223-769C-D9F6E29304CA}"/>
                </a:ext>
              </a:extLst>
            </p:cNvPr>
            <p:cNvSpPr txBox="1"/>
            <p:nvPr/>
          </p:nvSpPr>
          <p:spPr>
            <a:xfrm>
              <a:off x="277184" y="2919908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86%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E52050C-6F42-2254-5A4B-DDE79440CEA6}"/>
                </a:ext>
              </a:extLst>
            </p:cNvPr>
            <p:cNvSpPr txBox="1"/>
            <p:nvPr/>
          </p:nvSpPr>
          <p:spPr>
            <a:xfrm>
              <a:off x="1266215" y="2922325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84%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16330A7D-A616-6F53-CDB8-7591FCADAF99}"/>
                </a:ext>
              </a:extLst>
            </p:cNvPr>
            <p:cNvSpPr txBox="1"/>
            <p:nvPr/>
          </p:nvSpPr>
          <p:spPr>
            <a:xfrm>
              <a:off x="2252391" y="2977306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84%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D1BEBD8-5872-74A0-D7FB-F35C26A95582}"/>
                </a:ext>
              </a:extLst>
            </p:cNvPr>
            <p:cNvSpPr txBox="1"/>
            <p:nvPr/>
          </p:nvSpPr>
          <p:spPr>
            <a:xfrm>
              <a:off x="3204364" y="3060825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81%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E03A12DD-335B-8C8E-1C1F-B20BE787B554}"/>
                </a:ext>
              </a:extLst>
            </p:cNvPr>
            <p:cNvSpPr txBox="1"/>
            <p:nvPr/>
          </p:nvSpPr>
          <p:spPr>
            <a:xfrm>
              <a:off x="4224374" y="3109143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80%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2A93BC83-AA64-BC75-1F42-F29D2B9352BA}"/>
                </a:ext>
              </a:extLst>
            </p:cNvPr>
            <p:cNvSpPr txBox="1"/>
            <p:nvPr/>
          </p:nvSpPr>
          <p:spPr>
            <a:xfrm>
              <a:off x="5213405" y="3150842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80%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5A1089F-2119-0557-AFCF-55016D812C5E}"/>
                </a:ext>
              </a:extLst>
            </p:cNvPr>
            <p:cNvSpPr txBox="1"/>
            <p:nvPr/>
          </p:nvSpPr>
          <p:spPr>
            <a:xfrm>
              <a:off x="6216117" y="3150843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78%</a:t>
              </a: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C2CD06C7-B62E-72C8-4D00-5012D8A578BF}"/>
                </a:ext>
              </a:extLst>
            </p:cNvPr>
            <p:cNvSpPr txBox="1"/>
            <p:nvPr/>
          </p:nvSpPr>
          <p:spPr>
            <a:xfrm>
              <a:off x="7168415" y="3308420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74%</a:t>
              </a:r>
            </a:p>
          </p:txBody>
        </p:sp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18207E69-4A44-796E-F8C9-AF57909A0B69}"/>
                </a:ext>
              </a:extLst>
            </p:cNvPr>
            <p:cNvSpPr txBox="1"/>
            <p:nvPr/>
          </p:nvSpPr>
          <p:spPr>
            <a:xfrm>
              <a:off x="8166817" y="3341875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71%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DAE0C412-2F89-B87B-B58F-F157BA3CCE8D}"/>
                </a:ext>
              </a:extLst>
            </p:cNvPr>
            <p:cNvSpPr txBox="1"/>
            <p:nvPr/>
          </p:nvSpPr>
          <p:spPr>
            <a:xfrm>
              <a:off x="9142167" y="3337824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71%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54106D08-9B7D-8389-4BB8-DF94F5A0CA2C}"/>
                </a:ext>
              </a:extLst>
            </p:cNvPr>
            <p:cNvSpPr txBox="1"/>
            <p:nvPr/>
          </p:nvSpPr>
          <p:spPr>
            <a:xfrm>
              <a:off x="11100551" y="3436684"/>
              <a:ext cx="882595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200" b="1">
                  <a:solidFill>
                    <a:schemeClr val="accent4"/>
                  </a:solidFill>
                </a:rPr>
                <a:t>65%</a:t>
              </a:r>
            </a:p>
          </p:txBody>
        </p:sp>
      </p:grp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2A06CFCA-0613-BDC3-9AB5-EF8A0B9939E1}"/>
              </a:ext>
            </a:extLst>
          </p:cNvPr>
          <p:cNvSpPr/>
          <p:nvPr/>
        </p:nvSpPr>
        <p:spPr>
          <a:xfrm>
            <a:off x="144196" y="2775618"/>
            <a:ext cx="2978822" cy="3184606"/>
          </a:xfrm>
          <a:prstGeom prst="roundRect">
            <a:avLst/>
          </a:prstGeom>
          <a:noFill/>
          <a:ln>
            <a:solidFill>
              <a:schemeClr val="accent4"/>
            </a:solidFill>
            <a:prstDash val="sys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121544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61417B-3C2C-E875-EC65-FC5B7D1A2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+mj-lt"/>
              </a:rPr>
              <a:t>Key Finding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695952-0AD9-3D3D-1DBD-46732A1255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517933" y="1043339"/>
            <a:ext cx="11156133" cy="5144645"/>
          </a:xfrm>
        </p:spPr>
        <p:txBody>
          <a:bodyPr/>
          <a:lstStyle/>
          <a:p>
            <a:pPr marL="79246" indent="0">
              <a:buNone/>
            </a:pPr>
            <a:r>
              <a:rPr lang="en-US" sz="1600" b="1" dirty="0">
                <a:solidFill>
                  <a:schemeClr val="accent1"/>
                </a:solidFill>
              </a:rPr>
              <a:t>DOOH is a Highly Effective Advertising Medium.</a:t>
            </a:r>
            <a:br>
              <a:rPr lang="en-US" b="1" dirty="0">
                <a:solidFill>
                  <a:schemeClr val="accent1"/>
                </a:solidFill>
              </a:rPr>
            </a:br>
            <a:endParaRPr lang="en-US" b="1" dirty="0">
              <a:solidFill>
                <a:schemeClr val="accent1"/>
              </a:solidFill>
            </a:endParaRPr>
          </a:p>
          <a:p>
            <a:r>
              <a:rPr lang="en-US" dirty="0"/>
              <a:t>DOOH is a favorable and motivating channel, particularly among younger generations and those in large urban areas as well as for public transit and rail users. </a:t>
            </a:r>
          </a:p>
          <a:p>
            <a:pPr lvl="1"/>
            <a:r>
              <a:rPr lang="en-US" dirty="0"/>
              <a:t>73% of consumers view DOOH ads favorably, significantly higher than competing ad media (video, social media, print, audio, online).</a:t>
            </a:r>
          </a:p>
          <a:p>
            <a:pPr lvl="1"/>
            <a:r>
              <a:rPr lang="en-US" dirty="0"/>
              <a:t>Men, Gen Z and Millennials rank DOOH ads with the highest favorability.</a:t>
            </a:r>
            <a:br>
              <a:rPr lang="en-US" dirty="0"/>
            </a:br>
            <a:endParaRPr lang="en-US" dirty="0"/>
          </a:p>
          <a:p>
            <a:r>
              <a:rPr lang="en-US" dirty="0"/>
              <a:t>DOOH spurs high action rates among those exposed.</a:t>
            </a:r>
          </a:p>
          <a:p>
            <a:pPr lvl="1"/>
            <a:r>
              <a:rPr lang="en-US" dirty="0"/>
              <a:t>DOOH ads are more likely to generate consumer action than any competing ad media, with almost half (49%) stating DOOH ads are likely to make them take an action. </a:t>
            </a:r>
          </a:p>
          <a:p>
            <a:pPr lvl="1"/>
            <a:r>
              <a:rPr lang="en-US" dirty="0"/>
              <a:t>76% of recent DOOH ad viewers have taken an action and the most frequently </a:t>
            </a:r>
            <a:r>
              <a:rPr lang="en-US"/>
              <a:t>reported were: </a:t>
            </a:r>
            <a:r>
              <a:rPr lang="en-US" dirty="0"/>
              <a:t>watching video programming (38%) restaurant visitation (36%), in-store purchasing (30%), word-of-mouth conversations (29%), and store visitation (29%).  </a:t>
            </a:r>
          </a:p>
          <a:p>
            <a:pPr lvl="1"/>
            <a:r>
              <a:rPr lang="en-US" dirty="0"/>
              <a:t>Men, Gen Z, Millennials and Adults in key Transit markets are the most likely to act after DOOH ad exposure.</a:t>
            </a:r>
            <a:br>
              <a:rPr lang="en-US" dirty="0"/>
            </a:br>
            <a:endParaRPr lang="en-US" dirty="0"/>
          </a:p>
          <a:p>
            <a:r>
              <a:rPr lang="en-US" dirty="0"/>
              <a:t>DOOH drives frequent engagement on mobile devices.</a:t>
            </a:r>
          </a:p>
          <a:p>
            <a:pPr lvl="1"/>
            <a:r>
              <a:rPr lang="en-US" dirty="0"/>
              <a:t>74% of mobile device users have recently taken a device action as a result of recent DOOH ad exposure. </a:t>
            </a:r>
          </a:p>
          <a:p>
            <a:pPr lvl="2"/>
            <a:r>
              <a:rPr lang="en-US" dirty="0"/>
              <a:t>44% of the actions were online searches about the advertisers. </a:t>
            </a:r>
          </a:p>
          <a:p>
            <a:pPr lvl="2"/>
            <a:r>
              <a:rPr lang="en-US" dirty="0"/>
              <a:t>38% were direct visitation to advertiser websites. </a:t>
            </a:r>
          </a:p>
          <a:p>
            <a:pPr lvl="2"/>
            <a:r>
              <a:rPr lang="en-US" dirty="0"/>
              <a:t>30% were visitation to the advertiser social media sites.</a:t>
            </a:r>
          </a:p>
          <a:p>
            <a:pPr lvl="2"/>
            <a:r>
              <a:rPr lang="en-US" dirty="0"/>
              <a:t>26% were use of or download of advertiser apps. </a:t>
            </a:r>
          </a:p>
          <a:p>
            <a:pPr lvl="2"/>
            <a:r>
              <a:rPr lang="en-US" dirty="0"/>
              <a:t>24% were use of device technology to access info or coupon/discount (QR code, swipe, tap, SMS/text). 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AFDD659-8836-D265-4E82-DE08A144C7B9}"/>
              </a:ext>
            </a:extLst>
          </p:cNvPr>
          <p:cNvSpPr txBox="1">
            <a:spLocks/>
          </p:cNvSpPr>
          <p:nvPr/>
        </p:nvSpPr>
        <p:spPr>
          <a:xfrm>
            <a:off x="177449" y="266913"/>
            <a:ext cx="6096000" cy="252573"/>
          </a:xfrm>
          <a:prstGeom prst="rect">
            <a:avLst/>
          </a:prstGeom>
        </p:spPr>
        <p:txBody>
          <a:bodyPr/>
          <a:lstStyle>
            <a:lvl1pPr marL="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067" b="0" i="0" kern="1200">
                <a:solidFill>
                  <a:schemeClr val="accent1"/>
                </a:solidFill>
                <a:latin typeface="Helvetica Light" panose="020B0403020202020204" pitchFamily="34" charset="0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067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1067" b="1" kern="1200" cap="none" spc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067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067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b="1">
                <a:solidFill>
                  <a:schemeClr val="accent2"/>
                </a:solidFill>
                <a:latin typeface="+mn-lt"/>
              </a:rPr>
              <a:t>OAAA DOOH</a:t>
            </a:r>
          </a:p>
        </p:txBody>
      </p:sp>
    </p:spTree>
    <p:extLst>
      <p:ext uri="{BB962C8B-B14F-4D97-AF65-F5344CB8AC3E}">
        <p14:creationId xmlns:p14="http://schemas.microsoft.com/office/powerpoint/2010/main" val="185311301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OOH: Innovativ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Nearly three-quarters of consumers are interested in seeing 3D DOOH ad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And a third or more say they are more likely to engage or interact with 3D DOOH ads than other types of competitive advertising. </a:t>
            </a:r>
          </a:p>
        </p:txBody>
      </p:sp>
      <p:sp>
        <p:nvSpPr>
          <p:cNvPr id="6" name="TextBox 11">
            <a:extLst>
              <a:ext uri="{FF2B5EF4-FFF2-40B4-BE49-F238E27FC236}">
                <a16:creationId xmlns:a16="http://schemas.microsoft.com/office/drawing/2014/main" id="{2694B650-D95E-227A-F03D-6A01AFBFA459}"/>
              </a:ext>
            </a:extLst>
          </p:cNvPr>
          <p:cNvSpPr txBox="1"/>
          <p:nvPr/>
        </p:nvSpPr>
        <p:spPr>
          <a:xfrm>
            <a:off x="177447" y="5988536"/>
            <a:ext cx="925026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defTabSz="914377"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 ALL QUALIFIED RESPONDENTS EXCLUDING NO OPINON (n=961)</a:t>
            </a:r>
          </a:p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35. How interested are you in seeing these kinds of ads?</a:t>
            </a:r>
            <a:b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 ALL QUALIFIED RESPONDENTS (n=1,023)</a:t>
            </a:r>
          </a:p>
          <a:p>
            <a:pPr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340. And how much more likely are you to engage or interact with ads or ad content if they are displayed in the following ways compared to other forms of advertising?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A7030DE-F63D-5B77-F1D5-C794E0E511D0}"/>
              </a:ext>
            </a:extLst>
          </p:cNvPr>
          <p:cNvSpPr txBox="1"/>
          <p:nvPr/>
        </p:nvSpPr>
        <p:spPr>
          <a:xfrm>
            <a:off x="-163830" y="1878002"/>
            <a:ext cx="4748067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Interest in 3D DOOH Ads</a:t>
            </a:r>
          </a:p>
          <a:p>
            <a:pPr algn="ctr"/>
            <a:r>
              <a:rPr lang="en-US" sz="1000" i="1"/>
              <a:t>% Very/Somewhat Interested, excluding no opinion</a:t>
            </a:r>
            <a:endParaRPr lang="en-US" sz="1200" i="1" u="sng"/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F544377C-3B95-AF0D-6A5C-EDC6DB19BE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06597069"/>
              </p:ext>
            </p:extLst>
          </p:nvPr>
        </p:nvGraphicFramePr>
        <p:xfrm>
          <a:off x="375673" y="2607832"/>
          <a:ext cx="3151297" cy="28840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E7D959FC-1DAE-353D-3825-0DB3CF4A7A35}"/>
              </a:ext>
            </a:extLst>
          </p:cNvPr>
          <p:cNvSpPr txBox="1"/>
          <p:nvPr/>
        </p:nvSpPr>
        <p:spPr>
          <a:xfrm>
            <a:off x="6152115" y="1877574"/>
            <a:ext cx="474806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Likelihood to Engage With 3D DOOH Ads </a:t>
            </a:r>
          </a:p>
          <a:p>
            <a:pPr algn="ctr"/>
            <a:r>
              <a:rPr lang="en-US" sz="1200" b="1"/>
              <a:t>Compared to Other Mediums</a:t>
            </a:r>
          </a:p>
        </p:txBody>
      </p:sp>
      <p:graphicFrame>
        <p:nvGraphicFramePr>
          <p:cNvPr id="11" name="Chart 10">
            <a:extLst>
              <a:ext uri="{FF2B5EF4-FFF2-40B4-BE49-F238E27FC236}">
                <a16:creationId xmlns:a16="http://schemas.microsoft.com/office/drawing/2014/main" id="{BABCCC79-979C-7A41-42AE-04A6551A136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88387852"/>
              </p:ext>
            </p:extLst>
          </p:nvPr>
        </p:nvGraphicFramePr>
        <p:xfrm>
          <a:off x="5077626" y="2263982"/>
          <a:ext cx="6996644" cy="32911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Speech Bubble: Rectangle 6">
            <a:extLst>
              <a:ext uri="{FF2B5EF4-FFF2-40B4-BE49-F238E27FC236}">
                <a16:creationId xmlns:a16="http://schemas.microsoft.com/office/drawing/2014/main" id="{386D6275-FA8D-9AC1-C18B-57A7F60AAD4A}"/>
              </a:ext>
            </a:extLst>
          </p:cNvPr>
          <p:cNvSpPr/>
          <p:nvPr/>
        </p:nvSpPr>
        <p:spPr>
          <a:xfrm>
            <a:off x="3291840" y="4788282"/>
            <a:ext cx="1514244" cy="703559"/>
          </a:xfrm>
          <a:prstGeom prst="wedgeRectCallout">
            <a:avLst>
              <a:gd name="adj1" fmla="val -73980"/>
              <a:gd name="adj2" fmla="val -26282"/>
            </a:avLst>
          </a:prstGeom>
          <a:noFill/>
          <a:ln>
            <a:solidFill>
              <a:schemeClr val="accent4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>
                <a:solidFill>
                  <a:schemeClr val="bg2"/>
                </a:solidFill>
              </a:rPr>
              <a:t>Gen Z (81%) most interested in 3D DOOH Ads. </a:t>
            </a:r>
          </a:p>
        </p:txBody>
      </p:sp>
    </p:spTree>
    <p:extLst>
      <p:ext uri="{BB962C8B-B14F-4D97-AF65-F5344CB8AC3E}">
        <p14:creationId xmlns:p14="http://schemas.microsoft.com/office/powerpoint/2010/main" val="528032685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84FA0A4-9D8E-0E4B-AD09-CC92AC4C9E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7667" y="2251304"/>
            <a:ext cx="9076666" cy="2355391"/>
          </a:xfrm>
        </p:spPr>
        <p:txBody>
          <a:bodyPr anchor="ctr"/>
          <a:lstStyle/>
          <a:p>
            <a:r>
              <a:rPr lang="en-US" sz="4800"/>
              <a:t>Demographics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11468069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5" name="Table 99">
            <a:extLst>
              <a:ext uri="{FF2B5EF4-FFF2-40B4-BE49-F238E27FC236}">
                <a16:creationId xmlns:a16="http://schemas.microsoft.com/office/drawing/2014/main" id="{2858FBF8-B27B-CE97-430D-D394B27294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80324054"/>
              </p:ext>
            </p:extLst>
          </p:nvPr>
        </p:nvGraphicFramePr>
        <p:xfrm>
          <a:off x="9821869" y="3333304"/>
          <a:ext cx="1784964" cy="136942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38064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1146900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283756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72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M Walkers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283756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94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M Private Vehicl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283756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8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M Public Transit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1146"/>
                  </a:ext>
                </a:extLst>
              </a:tr>
              <a:tr h="231746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M Rail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262112"/>
                  </a:ext>
                </a:extLst>
              </a:tr>
              <a:tr h="231746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4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2M Flyers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9009386"/>
                  </a:ext>
                </a:extLst>
              </a:tr>
            </a:tbl>
          </a:graphicData>
        </a:graphic>
      </p:graphicFrame>
      <p:graphicFrame>
        <p:nvGraphicFramePr>
          <p:cNvPr id="54" name="Table 99">
            <a:extLst>
              <a:ext uri="{FF2B5EF4-FFF2-40B4-BE49-F238E27FC236}">
                <a16:creationId xmlns:a16="http://schemas.microsoft.com/office/drawing/2014/main" id="{0FC14569-FE29-C6E8-8165-70919C119CF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939422"/>
              </p:ext>
            </p:extLst>
          </p:nvPr>
        </p:nvGraphicFramePr>
        <p:xfrm>
          <a:off x="7234061" y="3351741"/>
          <a:ext cx="2594899" cy="15316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927588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1667311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468114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37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ever married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468114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50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rried/Living with partner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595469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vorced/Separated/ Widowed</a:t>
                      </a:r>
                    </a:p>
                  </a:txBody>
                  <a:tcPr marL="9525" marR="9525" marT="9525" marB="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1146"/>
                  </a:ext>
                </a:extLst>
              </a:tr>
            </a:tbl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Demographic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Demographics: General Population</a:t>
            </a:r>
          </a:p>
        </p:txBody>
      </p:sp>
      <p:pic>
        <p:nvPicPr>
          <p:cNvPr id="5" name="Graphic 1" descr="Man">
            <a:extLst>
              <a:ext uri="{FF2B5EF4-FFF2-40B4-BE49-F238E27FC236}">
                <a16:creationId xmlns:a16="http://schemas.microsoft.com/office/drawing/2014/main" id="{1B1371F1-6F6F-2D9D-DF62-FC9262C774A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59035" y="1737778"/>
            <a:ext cx="809507" cy="809507"/>
          </a:xfrm>
          <a:prstGeom prst="rect">
            <a:avLst/>
          </a:prstGeom>
        </p:spPr>
      </p:pic>
      <p:pic>
        <p:nvPicPr>
          <p:cNvPr id="7" name="Graphic 1" descr="Woman">
            <a:extLst>
              <a:ext uri="{FF2B5EF4-FFF2-40B4-BE49-F238E27FC236}">
                <a16:creationId xmlns:a16="http://schemas.microsoft.com/office/drawing/2014/main" id="{F0417691-A3DC-62B3-7C67-B340639CC03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135217" y="1737778"/>
            <a:ext cx="809507" cy="809507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0D1179A5-F4DB-F9EB-A4F4-6070EC53B1C5}"/>
              </a:ext>
            </a:extLst>
          </p:cNvPr>
          <p:cNvSpPr/>
          <p:nvPr/>
        </p:nvSpPr>
        <p:spPr>
          <a:xfrm>
            <a:off x="401354" y="1468421"/>
            <a:ext cx="809507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Gender</a:t>
            </a:r>
            <a:endParaRPr kumimoji="0" lang="en-GB" sz="13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9" name="TextBox 1">
            <a:extLst>
              <a:ext uri="{FF2B5EF4-FFF2-40B4-BE49-F238E27FC236}">
                <a16:creationId xmlns:a16="http://schemas.microsoft.com/office/drawing/2014/main" id="{AD13FFB4-FE47-2BB8-5A30-DB4CC3D9C2B4}"/>
              </a:ext>
            </a:extLst>
          </p:cNvPr>
          <p:cNvSpPr txBox="1"/>
          <p:nvPr/>
        </p:nvSpPr>
        <p:spPr>
          <a:xfrm>
            <a:off x="553108" y="2538257"/>
            <a:ext cx="674539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49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+mn-cs"/>
              </a:rPr>
              <a:t>Mal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0" name="TextBox 1">
            <a:extLst>
              <a:ext uri="{FF2B5EF4-FFF2-40B4-BE49-F238E27FC236}">
                <a16:creationId xmlns:a16="http://schemas.microsoft.com/office/drawing/2014/main" id="{E9AE9B83-39A5-89D8-BC1E-A29122C58ADA}"/>
              </a:ext>
            </a:extLst>
          </p:cNvPr>
          <p:cNvSpPr txBox="1"/>
          <p:nvPr/>
        </p:nvSpPr>
        <p:spPr>
          <a:xfrm>
            <a:off x="1205729" y="2538257"/>
            <a:ext cx="711702" cy="4231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1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50%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ea typeface="+mn-ea"/>
                <a:cs typeface="+mn-cs"/>
              </a:rPr>
              <a:t>Female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chemeClr val="bg2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42C7DA1A-ACBA-B716-3991-5151318C9BB5}"/>
              </a:ext>
            </a:extLst>
          </p:cNvPr>
          <p:cNvCxnSpPr>
            <a:cxnSpLocks/>
          </p:cNvCxnSpPr>
          <p:nvPr/>
        </p:nvCxnSpPr>
        <p:spPr>
          <a:xfrm>
            <a:off x="248760" y="1464315"/>
            <a:ext cx="11440668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0CB592A9-630C-DAE8-BC2A-F26EB0B4666C}"/>
              </a:ext>
            </a:extLst>
          </p:cNvPr>
          <p:cNvSpPr/>
          <p:nvPr/>
        </p:nvSpPr>
        <p:spPr>
          <a:xfrm>
            <a:off x="2260237" y="1468646"/>
            <a:ext cx="954930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Ag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355CC4D-63DB-80EA-E2EC-EE4A36076184}"/>
              </a:ext>
            </a:extLst>
          </p:cNvPr>
          <p:cNvSpPr txBox="1"/>
          <p:nvPr/>
        </p:nvSpPr>
        <p:spPr>
          <a:xfrm>
            <a:off x="1201796" y="3792472"/>
            <a:ext cx="690231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31%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Urb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C31862C-E40A-07E9-FC8C-1468C923C1FC}"/>
              </a:ext>
            </a:extLst>
          </p:cNvPr>
          <p:cNvSpPr txBox="1"/>
          <p:nvPr/>
        </p:nvSpPr>
        <p:spPr>
          <a:xfrm>
            <a:off x="415686" y="3371089"/>
            <a:ext cx="2307515" cy="276999"/>
          </a:xfrm>
          <a:prstGeom prst="rect">
            <a:avLst/>
          </a:prstGeom>
          <a:noFill/>
        </p:spPr>
        <p:txBody>
          <a:bodyPr wrap="square" anchor="ctr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Urbanicity </a:t>
            </a:r>
          </a:p>
        </p:txBody>
      </p:sp>
      <p:pic>
        <p:nvPicPr>
          <p:cNvPr id="15" name="Graphic 14">
            <a:extLst>
              <a:ext uri="{FF2B5EF4-FFF2-40B4-BE49-F238E27FC236}">
                <a16:creationId xmlns:a16="http://schemas.microsoft.com/office/drawing/2014/main" id="{0A8E009E-0C89-DF34-AAC4-5149ADB88D8F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 b="17706"/>
          <a:stretch/>
        </p:blipFill>
        <p:spPr>
          <a:xfrm>
            <a:off x="511536" y="3638853"/>
            <a:ext cx="723983" cy="59579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A3B507BF-5348-FC92-B754-E330D5C062C5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82352" y="3684150"/>
            <a:ext cx="552674" cy="552674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8AA0A8B3-D2AD-8810-6786-4F89359CA88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942053" y="3728622"/>
            <a:ext cx="513152" cy="478942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2E851BB6-7FC8-0F2F-9337-6FE1B78E9E0D}"/>
              </a:ext>
            </a:extLst>
          </p:cNvPr>
          <p:cNvSpPr txBox="1"/>
          <p:nvPr/>
        </p:nvSpPr>
        <p:spPr>
          <a:xfrm>
            <a:off x="2419111" y="3792472"/>
            <a:ext cx="895954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400" b="1">
                <a:solidFill>
                  <a:schemeClr val="accent1"/>
                </a:solidFill>
                <a:ea typeface="Times New Roman" panose="02020603050405020304" pitchFamily="18" charset="0"/>
              </a:rPr>
              <a:t>50</a:t>
            </a: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%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EF3E42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Suburban</a:t>
            </a:r>
            <a:endParaRPr kumimoji="0" lang="en-US" sz="1100" b="0" i="0" u="none" strike="noStrike" kern="1200" cap="none" spc="0" normalizeH="0" baseline="0" noProof="0">
              <a:ln>
                <a:noFill/>
              </a:ln>
              <a:effectLst/>
              <a:uLnTx/>
              <a:uFillTx/>
              <a:ea typeface="Times New Roman" panose="02020603050405020304" pitchFamily="18" charset="0"/>
              <a:cs typeface="+mn-cs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229F31B-33EC-0A03-5329-24982A5DCF78}"/>
              </a:ext>
            </a:extLst>
          </p:cNvPr>
          <p:cNvSpPr txBox="1"/>
          <p:nvPr/>
        </p:nvSpPr>
        <p:spPr>
          <a:xfrm>
            <a:off x="3906288" y="3792472"/>
            <a:ext cx="695750" cy="477054"/>
          </a:xfrm>
          <a:prstGeom prst="rect">
            <a:avLst/>
          </a:prstGeom>
          <a:noFill/>
        </p:spPr>
        <p:txBody>
          <a:bodyPr wrap="square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19% </a:t>
            </a:r>
            <a:b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1965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</a:br>
            <a:r>
              <a:rPr kumimoji="0" lang="en-US" sz="105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Rural</a:t>
            </a:r>
            <a:r>
              <a:rPr kumimoji="0" lang="en-US" sz="11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Times New Roman" panose="02020603050405020304" pitchFamily="18" charset="0"/>
                <a:cs typeface="+mn-cs"/>
              </a:rPr>
              <a:t> 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60120641-308D-0410-973A-94ABAE336969}"/>
              </a:ext>
            </a:extLst>
          </p:cNvPr>
          <p:cNvSpPr/>
          <p:nvPr/>
        </p:nvSpPr>
        <p:spPr>
          <a:xfrm>
            <a:off x="4892848" y="1467332"/>
            <a:ext cx="2152124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accent1"/>
                </a:solidFill>
              </a:rPr>
              <a:t>Race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1" name="Table 99">
            <a:extLst>
              <a:ext uri="{FF2B5EF4-FFF2-40B4-BE49-F238E27FC236}">
                <a16:creationId xmlns:a16="http://schemas.microsoft.com/office/drawing/2014/main" id="{EB41F073-588F-4D3E-B1E8-38819313FDA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09934326"/>
              </p:ext>
            </p:extLst>
          </p:nvPr>
        </p:nvGraphicFramePr>
        <p:xfrm>
          <a:off x="5008303" y="1744985"/>
          <a:ext cx="2845065" cy="13788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29685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2315380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340005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7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Asian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340005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Black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340005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ispanic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1146"/>
                  </a:ext>
                </a:extLst>
              </a:tr>
              <a:tr h="35886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52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ite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881484"/>
                  </a:ext>
                </a:extLst>
              </a:tr>
            </a:tbl>
          </a:graphicData>
        </a:graphic>
      </p:graphicFrame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1E6ED4A6-B93B-32E8-4586-1D5AFBC5BBD2}"/>
              </a:ext>
            </a:extLst>
          </p:cNvPr>
          <p:cNvCxnSpPr>
            <a:cxnSpLocks/>
          </p:cNvCxnSpPr>
          <p:nvPr/>
        </p:nvCxnSpPr>
        <p:spPr>
          <a:xfrm>
            <a:off x="4823821" y="1464315"/>
            <a:ext cx="0" cy="1792567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DBAEE5C-678D-1816-7BD6-C12E4E4FBAE6}"/>
              </a:ext>
            </a:extLst>
          </p:cNvPr>
          <p:cNvCxnSpPr>
            <a:cxnSpLocks/>
          </p:cNvCxnSpPr>
          <p:nvPr/>
        </p:nvCxnSpPr>
        <p:spPr>
          <a:xfrm>
            <a:off x="2363540" y="1464315"/>
            <a:ext cx="0" cy="1794141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A465336F-5C6F-344A-A8BD-5BA271E063F8}"/>
              </a:ext>
            </a:extLst>
          </p:cNvPr>
          <p:cNvCxnSpPr>
            <a:cxnSpLocks/>
          </p:cNvCxnSpPr>
          <p:nvPr/>
        </p:nvCxnSpPr>
        <p:spPr>
          <a:xfrm>
            <a:off x="7436560" y="1464315"/>
            <a:ext cx="0" cy="1801606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89866B02-5CDF-85C2-E324-745EA5C4462C}"/>
              </a:ext>
            </a:extLst>
          </p:cNvPr>
          <p:cNvCxnSpPr>
            <a:cxnSpLocks/>
          </p:cNvCxnSpPr>
          <p:nvPr/>
        </p:nvCxnSpPr>
        <p:spPr>
          <a:xfrm>
            <a:off x="7438185" y="3254069"/>
            <a:ext cx="9241" cy="163884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Rectangle 25">
            <a:extLst>
              <a:ext uri="{FF2B5EF4-FFF2-40B4-BE49-F238E27FC236}">
                <a16:creationId xmlns:a16="http://schemas.microsoft.com/office/drawing/2014/main" id="{7AD47912-75CC-6743-C7F0-C7540EAD184D}"/>
              </a:ext>
            </a:extLst>
          </p:cNvPr>
          <p:cNvSpPr/>
          <p:nvPr/>
        </p:nvSpPr>
        <p:spPr>
          <a:xfrm>
            <a:off x="415686" y="4979509"/>
            <a:ext cx="2152124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accent1"/>
                </a:solidFill>
              </a:rPr>
              <a:t>Education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7" name="Table 99">
            <a:extLst>
              <a:ext uri="{FF2B5EF4-FFF2-40B4-BE49-F238E27FC236}">
                <a16:creationId xmlns:a16="http://schemas.microsoft.com/office/drawing/2014/main" id="{160FD193-D1E8-B996-716D-A442CE7CEA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1957391"/>
              </p:ext>
            </p:extLst>
          </p:nvPr>
        </p:nvGraphicFramePr>
        <p:xfrm>
          <a:off x="415686" y="5274186"/>
          <a:ext cx="3681011" cy="84296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85320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2995691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28098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b="1" i="0" u="none" strike="noStrike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8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ss than HS degre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2809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5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HS degree to less than 4-yr degre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2809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7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-yr college degree or mor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891054131"/>
                  </a:ext>
                </a:extLst>
              </a:tr>
            </a:tbl>
          </a:graphicData>
        </a:graphic>
      </p:graphicFrame>
      <p:graphicFrame>
        <p:nvGraphicFramePr>
          <p:cNvPr id="28" name="Table 99">
            <a:extLst>
              <a:ext uri="{FF2B5EF4-FFF2-40B4-BE49-F238E27FC236}">
                <a16:creationId xmlns:a16="http://schemas.microsoft.com/office/drawing/2014/main" id="{C84E641D-777E-98E0-661F-05ACFE94F56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2419903"/>
              </p:ext>
            </p:extLst>
          </p:nvPr>
        </p:nvGraphicFramePr>
        <p:xfrm>
          <a:off x="4881722" y="3648088"/>
          <a:ext cx="2176530" cy="1436111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707723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1468807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28098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b="1" i="0" u="none" strike="noStrike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17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rtheast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2809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Midwest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2809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9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outh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1146"/>
                  </a:ext>
                </a:extLst>
              </a:tr>
              <a:tr h="296575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4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est</a:t>
                      </a:r>
                      <a:endParaRPr lang="en-GB" sz="105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881484"/>
                  </a:ext>
                </a:extLst>
              </a:tr>
              <a:tr h="296575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i="0" u="none" strike="noStrike" kern="1200" noProof="0">
                        <a:solidFill>
                          <a:srgbClr val="EF3E42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GB" sz="105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8741200"/>
                  </a:ext>
                </a:extLst>
              </a:tr>
            </a:tbl>
          </a:graphicData>
        </a:graphic>
      </p:graphicFrame>
      <p:sp>
        <p:nvSpPr>
          <p:cNvPr id="29" name="Rectangle 28">
            <a:extLst>
              <a:ext uri="{FF2B5EF4-FFF2-40B4-BE49-F238E27FC236}">
                <a16:creationId xmlns:a16="http://schemas.microsoft.com/office/drawing/2014/main" id="{DB06DB44-FB30-45F5-3E32-89C958A73891}"/>
              </a:ext>
            </a:extLst>
          </p:cNvPr>
          <p:cNvSpPr/>
          <p:nvPr/>
        </p:nvSpPr>
        <p:spPr>
          <a:xfrm>
            <a:off x="4790322" y="3371089"/>
            <a:ext cx="1456099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Region</a:t>
            </a:r>
          </a:p>
        </p:txBody>
      </p: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2CFEC76B-E3F5-933A-3E5F-72465FA079F4}"/>
              </a:ext>
            </a:extLst>
          </p:cNvPr>
          <p:cNvCxnSpPr>
            <a:cxnSpLocks/>
          </p:cNvCxnSpPr>
          <p:nvPr/>
        </p:nvCxnSpPr>
        <p:spPr>
          <a:xfrm>
            <a:off x="4820760" y="3256882"/>
            <a:ext cx="10798" cy="2998774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>
            <a:extLst>
              <a:ext uri="{FF2B5EF4-FFF2-40B4-BE49-F238E27FC236}">
                <a16:creationId xmlns:a16="http://schemas.microsoft.com/office/drawing/2014/main" id="{DFED1687-CF31-7CE5-0762-0EB11FA750D8}"/>
              </a:ext>
            </a:extLst>
          </p:cNvPr>
          <p:cNvCxnSpPr>
            <a:cxnSpLocks/>
          </p:cNvCxnSpPr>
          <p:nvPr/>
        </p:nvCxnSpPr>
        <p:spPr>
          <a:xfrm>
            <a:off x="458175" y="4902249"/>
            <a:ext cx="4362585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33904170-7919-584F-CD45-65C25D1F0E99}"/>
              </a:ext>
            </a:extLst>
          </p:cNvPr>
          <p:cNvCxnSpPr>
            <a:cxnSpLocks/>
          </p:cNvCxnSpPr>
          <p:nvPr/>
        </p:nvCxnSpPr>
        <p:spPr>
          <a:xfrm>
            <a:off x="6792334" y="4901672"/>
            <a:ext cx="0" cy="1360371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>
            <a:extLst>
              <a:ext uri="{FF2B5EF4-FFF2-40B4-BE49-F238E27FC236}">
                <a16:creationId xmlns:a16="http://schemas.microsoft.com/office/drawing/2014/main" id="{95A02B97-5E1F-0276-8793-7EE1468D577A}"/>
              </a:ext>
            </a:extLst>
          </p:cNvPr>
          <p:cNvCxnSpPr>
            <a:cxnSpLocks/>
          </p:cNvCxnSpPr>
          <p:nvPr/>
        </p:nvCxnSpPr>
        <p:spPr>
          <a:xfrm>
            <a:off x="474099" y="3258456"/>
            <a:ext cx="434666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351F305A-B6A2-0DF7-2D2B-55C4249F3CC7}"/>
              </a:ext>
            </a:extLst>
          </p:cNvPr>
          <p:cNvCxnSpPr>
            <a:cxnSpLocks/>
          </p:cNvCxnSpPr>
          <p:nvPr/>
        </p:nvCxnSpPr>
        <p:spPr>
          <a:xfrm>
            <a:off x="4820760" y="3262870"/>
            <a:ext cx="2615799" cy="3051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Connector 34">
            <a:extLst>
              <a:ext uri="{FF2B5EF4-FFF2-40B4-BE49-F238E27FC236}">
                <a16:creationId xmlns:a16="http://schemas.microsoft.com/office/drawing/2014/main" id="{0D6CCE95-6D82-B9E3-655D-ADC1D64A2F72}"/>
              </a:ext>
            </a:extLst>
          </p:cNvPr>
          <p:cNvCxnSpPr>
            <a:cxnSpLocks/>
          </p:cNvCxnSpPr>
          <p:nvPr/>
        </p:nvCxnSpPr>
        <p:spPr>
          <a:xfrm>
            <a:off x="463301" y="6262043"/>
            <a:ext cx="4357459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Connector 35">
            <a:extLst>
              <a:ext uri="{FF2B5EF4-FFF2-40B4-BE49-F238E27FC236}">
                <a16:creationId xmlns:a16="http://schemas.microsoft.com/office/drawing/2014/main" id="{D0AD9334-D177-A884-D269-622D3D2EAFE9}"/>
              </a:ext>
            </a:extLst>
          </p:cNvPr>
          <p:cNvCxnSpPr>
            <a:cxnSpLocks/>
          </p:cNvCxnSpPr>
          <p:nvPr/>
        </p:nvCxnSpPr>
        <p:spPr>
          <a:xfrm>
            <a:off x="4822387" y="4894246"/>
            <a:ext cx="3221251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Box 36">
            <a:extLst>
              <a:ext uri="{FF2B5EF4-FFF2-40B4-BE49-F238E27FC236}">
                <a16:creationId xmlns:a16="http://schemas.microsoft.com/office/drawing/2014/main" id="{4912A4C1-00AE-3B97-8859-10DE01361390}"/>
              </a:ext>
            </a:extLst>
          </p:cNvPr>
          <p:cNvSpPr txBox="1"/>
          <p:nvPr/>
        </p:nvSpPr>
        <p:spPr>
          <a:xfrm>
            <a:off x="658022" y="2931992"/>
            <a:ext cx="1465850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1% other</a:t>
            </a:r>
          </a:p>
          <a:p>
            <a:r>
              <a:rPr kumimoji="0" lang="en-US" sz="800" b="0" i="1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ea typeface="+mn-ea"/>
                <a:cs typeface="+mn-cs"/>
              </a:rPr>
              <a:t>* prefer not to answer</a:t>
            </a:r>
            <a:endParaRPr lang="en-US" sz="800" i="1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0681B58-302F-E625-4522-87C17958564A}"/>
              </a:ext>
            </a:extLst>
          </p:cNvPr>
          <p:cNvSpPr txBox="1"/>
          <p:nvPr/>
        </p:nvSpPr>
        <p:spPr>
          <a:xfrm>
            <a:off x="3477607" y="2742897"/>
            <a:ext cx="1296047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100" b="1">
                <a:solidFill>
                  <a:schemeClr val="accent1">
                    <a:lumMod val="50000"/>
                  </a:schemeClr>
                </a:solidFill>
              </a:rPr>
              <a:t>Mean</a:t>
            </a:r>
            <a:endParaRPr lang="en-US" sz="1400" b="1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39" name="Table 38">
            <a:extLst>
              <a:ext uri="{FF2B5EF4-FFF2-40B4-BE49-F238E27FC236}">
                <a16:creationId xmlns:a16="http://schemas.microsoft.com/office/drawing/2014/main" id="{A6DB4ED1-26C9-19E8-A785-119DD6A286B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08679289"/>
              </p:ext>
            </p:extLst>
          </p:nvPr>
        </p:nvGraphicFramePr>
        <p:xfrm>
          <a:off x="3852979" y="2302652"/>
          <a:ext cx="570462" cy="3708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70462">
                  <a:extLst>
                    <a:ext uri="{9D8B030D-6E8A-4147-A177-3AD203B41FA5}">
                      <a16:colId xmlns:a16="http://schemas.microsoft.com/office/drawing/2014/main" val="3747507920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1400">
                          <a:solidFill>
                            <a:schemeClr val="accent1"/>
                          </a:solidFill>
                        </a:rPr>
                        <a:t>41</a:t>
                      </a:r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8086854"/>
                  </a:ext>
                </a:extLst>
              </a:tr>
            </a:tbl>
          </a:graphicData>
        </a:graphic>
      </p:graphicFrame>
      <p:sp>
        <p:nvSpPr>
          <p:cNvPr id="40" name="Oval 39">
            <a:extLst>
              <a:ext uri="{FF2B5EF4-FFF2-40B4-BE49-F238E27FC236}">
                <a16:creationId xmlns:a16="http://schemas.microsoft.com/office/drawing/2014/main" id="{0CAD4ADF-BC55-9BC5-9B53-58F46C91F139}"/>
              </a:ext>
            </a:extLst>
          </p:cNvPr>
          <p:cNvSpPr/>
          <p:nvPr/>
        </p:nvSpPr>
        <p:spPr>
          <a:xfrm>
            <a:off x="3832683" y="2170376"/>
            <a:ext cx="601419" cy="550687"/>
          </a:xfrm>
          <a:prstGeom prst="ellipse">
            <a:avLst/>
          </a:prstGeom>
          <a:noFill/>
          <a:ln>
            <a:solidFill>
              <a:schemeClr val="accent1"/>
            </a:solidFill>
          </a:ln>
        </p:spPr>
        <p:txBody>
          <a:bodyPr wrap="square" lIns="0" tIns="0" rIns="0" bIns="0" rtlCol="0" anchor="ctr"/>
          <a:lstStyle/>
          <a:p>
            <a:pPr algn="ctr">
              <a:lnSpc>
                <a:spcPts val="12400"/>
              </a:lnSpc>
            </a:pPr>
            <a:endParaRPr lang="en-US" kern="0" spc="-100">
              <a:solidFill>
                <a:srgbClr val="FFFFFF">
                  <a:alpha val="100000"/>
                </a:srgbClr>
              </a:solidFill>
              <a:latin typeface="PlutoSansCondBold" pitchFamily="34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9B295241-0BC6-B2A5-E12C-48158F0236FD}"/>
              </a:ext>
            </a:extLst>
          </p:cNvPr>
          <p:cNvCxnSpPr>
            <a:cxnSpLocks/>
          </p:cNvCxnSpPr>
          <p:nvPr/>
        </p:nvCxnSpPr>
        <p:spPr>
          <a:xfrm>
            <a:off x="4820760" y="6262043"/>
            <a:ext cx="2641040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DEB40305-E37E-A393-650D-D8B73FAB6E88}"/>
              </a:ext>
            </a:extLst>
          </p:cNvPr>
          <p:cNvCxnSpPr>
            <a:cxnSpLocks/>
          </p:cNvCxnSpPr>
          <p:nvPr/>
        </p:nvCxnSpPr>
        <p:spPr>
          <a:xfrm flipV="1">
            <a:off x="8000342" y="4888714"/>
            <a:ext cx="3732183" cy="4203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3BEC98C0-C4D8-BDAD-6739-88C0607BFC07}"/>
              </a:ext>
            </a:extLst>
          </p:cNvPr>
          <p:cNvCxnSpPr>
            <a:cxnSpLocks/>
          </p:cNvCxnSpPr>
          <p:nvPr/>
        </p:nvCxnSpPr>
        <p:spPr>
          <a:xfrm flipV="1">
            <a:off x="7472598" y="6252565"/>
            <a:ext cx="4256101" cy="9478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4" name="Rectangle 43">
            <a:extLst>
              <a:ext uri="{FF2B5EF4-FFF2-40B4-BE49-F238E27FC236}">
                <a16:creationId xmlns:a16="http://schemas.microsoft.com/office/drawing/2014/main" id="{B4193DCD-D243-0B2B-0FC6-7B15957E5EB9}"/>
              </a:ext>
            </a:extLst>
          </p:cNvPr>
          <p:cNvSpPr/>
          <p:nvPr/>
        </p:nvSpPr>
        <p:spPr>
          <a:xfrm>
            <a:off x="7472598" y="1465586"/>
            <a:ext cx="2152124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accent1"/>
                </a:solidFill>
              </a:rPr>
              <a:t>Employment Status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45" name="Table 99">
            <a:extLst>
              <a:ext uri="{FF2B5EF4-FFF2-40B4-BE49-F238E27FC236}">
                <a16:creationId xmlns:a16="http://schemas.microsoft.com/office/drawing/2014/main" id="{3C7416B5-7888-A5D7-2C7C-B1F104230AF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3607493"/>
              </p:ext>
            </p:extLst>
          </p:nvPr>
        </p:nvGraphicFramePr>
        <p:xfrm>
          <a:off x="7481546" y="1829813"/>
          <a:ext cx="3585223" cy="113953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667486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2917737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280987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54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ployed full tim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2809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0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Employed part tim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2809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6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Self-employed full tim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1146"/>
                  </a:ext>
                </a:extLst>
              </a:tr>
              <a:tr h="296575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7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t employed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881484"/>
                  </a:ext>
                </a:extLst>
              </a:tr>
            </a:tbl>
          </a:graphicData>
        </a:graphic>
      </p:graphicFrame>
      <p:graphicFrame>
        <p:nvGraphicFramePr>
          <p:cNvPr id="46" name="Table 99">
            <a:extLst>
              <a:ext uri="{FF2B5EF4-FFF2-40B4-BE49-F238E27FC236}">
                <a16:creationId xmlns:a16="http://schemas.microsoft.com/office/drawing/2014/main" id="{3E0C082E-790D-7121-C9DF-FC7BF1A3E48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06292364"/>
              </p:ext>
            </p:extLst>
          </p:nvPr>
        </p:nvGraphicFramePr>
        <p:xfrm>
          <a:off x="4982431" y="5298086"/>
          <a:ext cx="1464754" cy="56197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6281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988473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280987">
                <a:tc>
                  <a:txBody>
                    <a:bodyPr/>
                    <a:lstStyle/>
                    <a:p>
                      <a:pPr marL="0" algn="r" defTabSz="914400" rtl="0" eaLnBrk="1" fontAlgn="ctr" latinLnBrk="0" hangingPunct="1"/>
                      <a:r>
                        <a:rPr lang="en-US" sz="1100" b="1" i="0" u="none" strike="noStrike" kern="120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1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Yes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280987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i="0" u="none" strike="noStrike" kern="1200" noProof="0">
                          <a:solidFill>
                            <a:schemeClr val="accent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79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No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</a:tbl>
          </a:graphicData>
        </a:graphic>
      </p:graphicFrame>
      <p:sp>
        <p:nvSpPr>
          <p:cNvPr id="47" name="Rectangle 46">
            <a:extLst>
              <a:ext uri="{FF2B5EF4-FFF2-40B4-BE49-F238E27FC236}">
                <a16:creationId xmlns:a16="http://schemas.microsoft.com/office/drawing/2014/main" id="{043C9CB9-50FE-3F21-2199-30DE22D0DD0A}"/>
              </a:ext>
            </a:extLst>
          </p:cNvPr>
          <p:cNvSpPr/>
          <p:nvPr/>
        </p:nvSpPr>
        <p:spPr>
          <a:xfrm>
            <a:off x="4905663" y="4973165"/>
            <a:ext cx="1769954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Key Market Resident</a:t>
            </a:r>
          </a:p>
        </p:txBody>
      </p:sp>
      <p:sp>
        <p:nvSpPr>
          <p:cNvPr id="55" name="Rectangle 54">
            <a:extLst>
              <a:ext uri="{FF2B5EF4-FFF2-40B4-BE49-F238E27FC236}">
                <a16:creationId xmlns:a16="http://schemas.microsoft.com/office/drawing/2014/main" id="{AB34FDEB-2609-910F-18DE-9E4088C5FA6E}"/>
              </a:ext>
            </a:extLst>
          </p:cNvPr>
          <p:cNvSpPr/>
          <p:nvPr/>
        </p:nvSpPr>
        <p:spPr>
          <a:xfrm>
            <a:off x="7218435" y="3015171"/>
            <a:ext cx="2106996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Marital Status</a:t>
            </a:r>
          </a:p>
        </p:txBody>
      </p:sp>
      <p:cxnSp>
        <p:nvCxnSpPr>
          <p:cNvPr id="56" name="Straight Connector 55">
            <a:extLst>
              <a:ext uri="{FF2B5EF4-FFF2-40B4-BE49-F238E27FC236}">
                <a16:creationId xmlns:a16="http://schemas.microsoft.com/office/drawing/2014/main" id="{85933F53-0B4B-0AC0-6455-0509E0512DCA}"/>
              </a:ext>
            </a:extLst>
          </p:cNvPr>
          <p:cNvCxnSpPr>
            <a:cxnSpLocks/>
          </p:cNvCxnSpPr>
          <p:nvPr/>
        </p:nvCxnSpPr>
        <p:spPr>
          <a:xfrm flipH="1" flipV="1">
            <a:off x="11674836" y="1467560"/>
            <a:ext cx="61204" cy="4788096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>
            <a:extLst>
              <a:ext uri="{FF2B5EF4-FFF2-40B4-BE49-F238E27FC236}">
                <a16:creationId xmlns:a16="http://schemas.microsoft.com/office/drawing/2014/main" id="{93193AFD-4794-B3AA-99D8-694915630851}"/>
              </a:ext>
            </a:extLst>
          </p:cNvPr>
          <p:cNvCxnSpPr>
            <a:cxnSpLocks/>
          </p:cNvCxnSpPr>
          <p:nvPr/>
        </p:nvCxnSpPr>
        <p:spPr>
          <a:xfrm>
            <a:off x="7436559" y="2969144"/>
            <a:ext cx="4238277" cy="0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8" name="Rectangle 57">
            <a:extLst>
              <a:ext uri="{FF2B5EF4-FFF2-40B4-BE49-F238E27FC236}">
                <a16:creationId xmlns:a16="http://schemas.microsoft.com/office/drawing/2014/main" id="{ABB5D1ED-A1C4-F886-F4BE-5A8F0D9BECDB}"/>
              </a:ext>
            </a:extLst>
          </p:cNvPr>
          <p:cNvSpPr/>
          <p:nvPr/>
        </p:nvSpPr>
        <p:spPr>
          <a:xfrm>
            <a:off x="6792334" y="4912608"/>
            <a:ext cx="2152124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1200" b="1">
                <a:solidFill>
                  <a:schemeClr val="accent1"/>
                </a:solidFill>
              </a:rPr>
              <a:t>Household Income</a:t>
            </a:r>
            <a:endParaRPr kumimoji="0" lang="en-GB" sz="1200" b="1" i="0" u="none" strike="noStrike" kern="1200" cap="none" spc="0" normalizeH="0" baseline="0" noProof="0">
              <a:ln>
                <a:noFill/>
              </a:ln>
              <a:solidFill>
                <a:schemeClr val="accent1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59" name="Table 99">
            <a:extLst>
              <a:ext uri="{FF2B5EF4-FFF2-40B4-BE49-F238E27FC236}">
                <a16:creationId xmlns:a16="http://schemas.microsoft.com/office/drawing/2014/main" id="{10D09176-3122-811A-9128-4D927FA963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1633650"/>
              </p:ext>
            </p:extLst>
          </p:nvPr>
        </p:nvGraphicFramePr>
        <p:xfrm>
          <a:off x="6845145" y="5197920"/>
          <a:ext cx="2120774" cy="96765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3222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1707552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322550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0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23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Less than $50,000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32255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5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50,000 - $74,999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32255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75,000 - $99,999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1146"/>
                  </a:ext>
                </a:extLst>
              </a:tr>
            </a:tbl>
          </a:graphicData>
        </a:graphic>
      </p:graphicFrame>
      <p:graphicFrame>
        <p:nvGraphicFramePr>
          <p:cNvPr id="61" name="Table 99">
            <a:extLst>
              <a:ext uri="{FF2B5EF4-FFF2-40B4-BE49-F238E27FC236}">
                <a16:creationId xmlns:a16="http://schemas.microsoft.com/office/drawing/2014/main" id="{1D4EE32C-DF3C-0AA3-31B7-9E098F97D80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1017551"/>
              </p:ext>
            </p:extLst>
          </p:nvPr>
        </p:nvGraphicFramePr>
        <p:xfrm>
          <a:off x="2419408" y="1702401"/>
          <a:ext cx="1403826" cy="155164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501819">
                  <a:extLst>
                    <a:ext uri="{9D8B030D-6E8A-4147-A177-3AD203B41FA5}">
                      <a16:colId xmlns:a16="http://schemas.microsoft.com/office/drawing/2014/main" val="2159245285"/>
                    </a:ext>
                  </a:extLst>
                </a:gridCol>
                <a:gridCol w="902007">
                  <a:extLst>
                    <a:ext uri="{9D8B030D-6E8A-4147-A177-3AD203B41FA5}">
                      <a16:colId xmlns:a16="http://schemas.microsoft.com/office/drawing/2014/main" val="2198283047"/>
                    </a:ext>
                  </a:extLst>
                </a:gridCol>
              </a:tblGrid>
              <a:tr h="387910">
                <a:tc>
                  <a:txBody>
                    <a:bodyPr/>
                    <a:lstStyle/>
                    <a:p>
                      <a:pPr algn="r" rtl="0" fontAlgn="ctr"/>
                      <a:r>
                        <a:rPr lang="en-US" sz="1100" b="1" i="0" u="none" strike="noStrike">
                          <a:solidFill>
                            <a:schemeClr val="accent1"/>
                          </a:solidFill>
                          <a:effectLst/>
                          <a:latin typeface="+mn-lt"/>
                        </a:rPr>
                        <a:t>19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18-26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921467952"/>
                  </a:ext>
                </a:extLst>
              </a:tr>
              <a:tr h="38791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6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27-42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21316883"/>
                  </a:ext>
                </a:extLst>
              </a:tr>
              <a:tr h="38791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32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US" sz="1050" b="0" i="0" u="none" strike="noStrike">
                          <a:solidFill>
                            <a:srgbClr val="000000"/>
                          </a:solidFill>
                          <a:effectLst/>
                          <a:latin typeface="+mn-lt"/>
                        </a:rPr>
                        <a:t>43-58</a:t>
                      </a: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801146"/>
                  </a:ext>
                </a:extLst>
              </a:tr>
              <a:tr h="387910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1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marL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59-64</a:t>
                      </a:r>
                      <a:endParaRPr lang="en-GB" sz="1050" b="0" i="0" u="none" strike="noStrike" kern="1200">
                        <a:solidFill>
                          <a:srgbClr val="000000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45720" marR="45720" anchor="ctr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51881484"/>
                  </a:ext>
                </a:extLst>
              </a:tr>
            </a:tbl>
          </a:graphicData>
        </a:graphic>
      </p:graphicFrame>
      <p:sp>
        <p:nvSpPr>
          <p:cNvPr id="63" name="TextBox 62">
            <a:extLst>
              <a:ext uri="{FF2B5EF4-FFF2-40B4-BE49-F238E27FC236}">
                <a16:creationId xmlns:a16="http://schemas.microsoft.com/office/drawing/2014/main" id="{8309B287-AA9D-76E8-4BCC-9FC87F33123B}"/>
              </a:ext>
            </a:extLst>
          </p:cNvPr>
          <p:cNvSpPr txBox="1"/>
          <p:nvPr/>
        </p:nvSpPr>
        <p:spPr>
          <a:xfrm>
            <a:off x="414880" y="4517986"/>
            <a:ext cx="3027225" cy="4154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50" b="1">
                <a:solidFill>
                  <a:schemeClr val="accent1"/>
                </a:solidFill>
              </a:rPr>
              <a:t>38% </a:t>
            </a:r>
            <a:r>
              <a:rPr lang="en-US" sz="1050">
                <a:solidFill>
                  <a:srgbClr val="000000"/>
                </a:solidFill>
              </a:rPr>
              <a:t>Major City (1M+) </a:t>
            </a:r>
            <a:br>
              <a:rPr lang="en-US" sz="1050">
                <a:solidFill>
                  <a:srgbClr val="000000"/>
                </a:solidFill>
              </a:rPr>
            </a:br>
            <a:r>
              <a:rPr lang="en-US" sz="1050" b="1">
                <a:solidFill>
                  <a:schemeClr val="accent1"/>
                </a:solidFill>
              </a:rPr>
              <a:t>59% </a:t>
            </a:r>
            <a:r>
              <a:rPr lang="en-US" sz="1050">
                <a:solidFill>
                  <a:srgbClr val="000000"/>
                </a:solidFill>
              </a:rPr>
              <a:t>Minor City (&lt;1M)</a:t>
            </a:r>
          </a:p>
        </p:txBody>
      </p:sp>
      <p:graphicFrame>
        <p:nvGraphicFramePr>
          <p:cNvPr id="66" name="Table 65">
            <a:extLst>
              <a:ext uri="{FF2B5EF4-FFF2-40B4-BE49-F238E27FC236}">
                <a16:creationId xmlns:a16="http://schemas.microsoft.com/office/drawing/2014/main" id="{3FAACA90-BB84-7F92-8DFF-99F93B19217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21291074"/>
              </p:ext>
            </p:extLst>
          </p:nvPr>
        </p:nvGraphicFramePr>
        <p:xfrm>
          <a:off x="9052229" y="5199437"/>
          <a:ext cx="2120774" cy="9688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13222">
                  <a:extLst>
                    <a:ext uri="{9D8B030D-6E8A-4147-A177-3AD203B41FA5}">
                      <a16:colId xmlns:a16="http://schemas.microsoft.com/office/drawing/2014/main" val="719443409"/>
                    </a:ext>
                  </a:extLst>
                </a:gridCol>
                <a:gridCol w="1707552">
                  <a:extLst>
                    <a:ext uri="{9D8B030D-6E8A-4147-A177-3AD203B41FA5}">
                      <a16:colId xmlns:a16="http://schemas.microsoft.com/office/drawing/2014/main" val="2858428041"/>
                    </a:ext>
                  </a:extLst>
                </a:gridCol>
              </a:tblGrid>
              <a:tr h="318568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1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00,000 - $149,000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881477"/>
                  </a:ext>
                </a:extLst>
              </a:tr>
              <a:tr h="318568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3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150,000 - $199,999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6010478"/>
                  </a:ext>
                </a:extLst>
              </a:tr>
              <a:tr h="331666">
                <a:tc>
                  <a:txBody>
                    <a:bodyPr/>
                    <a:lstStyle/>
                    <a:p>
                      <a:pPr marL="0" marR="0" lvl="0" indent="0" algn="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chemeClr val="accent1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16%</a:t>
                      </a:r>
                    </a:p>
                  </a:txBody>
                  <a:tcPr marL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$200,000 or more</a:t>
                      </a:r>
                    </a:p>
                  </a:txBody>
                  <a:tcPr marL="45720" marR="45720">
                    <a:lnT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EBE8E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314098"/>
                  </a:ext>
                </a:extLst>
              </a:tr>
            </a:tbl>
          </a:graphicData>
        </a:graphic>
      </p:graphicFrame>
      <p:cxnSp>
        <p:nvCxnSpPr>
          <p:cNvPr id="71" name="Straight Connector 70">
            <a:extLst>
              <a:ext uri="{FF2B5EF4-FFF2-40B4-BE49-F238E27FC236}">
                <a16:creationId xmlns:a16="http://schemas.microsoft.com/office/drawing/2014/main" id="{87BA4C2C-4A71-7ED1-7C42-9FFF1EC66CB3}"/>
              </a:ext>
            </a:extLst>
          </p:cNvPr>
          <p:cNvCxnSpPr>
            <a:cxnSpLocks/>
          </p:cNvCxnSpPr>
          <p:nvPr/>
        </p:nvCxnSpPr>
        <p:spPr>
          <a:xfrm>
            <a:off x="9815142" y="2991135"/>
            <a:ext cx="25172" cy="1903865"/>
          </a:xfrm>
          <a:prstGeom prst="line">
            <a:avLst/>
          </a:prstGeom>
          <a:ln w="63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35554222-D2DA-D7E6-B7A5-6CF95E4C5B7D}"/>
              </a:ext>
            </a:extLst>
          </p:cNvPr>
          <p:cNvSpPr/>
          <p:nvPr/>
        </p:nvSpPr>
        <p:spPr>
          <a:xfrm>
            <a:off x="9274262" y="3034519"/>
            <a:ext cx="2106996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t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200" b="1" i="0" u="none" strike="noStrike" kern="1200" cap="none" spc="0" normalizeH="0" baseline="0" noProof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  <a:ea typeface="+mn-ea"/>
                <a:cs typeface="+mn-cs"/>
              </a:rPr>
              <a:t>Past …</a:t>
            </a:r>
          </a:p>
        </p:txBody>
      </p:sp>
      <p:sp>
        <p:nvSpPr>
          <p:cNvPr id="77" name="Left Brace 76">
            <a:extLst>
              <a:ext uri="{FF2B5EF4-FFF2-40B4-BE49-F238E27FC236}">
                <a16:creationId xmlns:a16="http://schemas.microsoft.com/office/drawing/2014/main" id="{CC1FDCDD-E8DB-76C0-B01D-45A5E3D07EFC}"/>
              </a:ext>
            </a:extLst>
          </p:cNvPr>
          <p:cNvSpPr/>
          <p:nvPr/>
        </p:nvSpPr>
        <p:spPr>
          <a:xfrm rot="16200000">
            <a:off x="1707381" y="3209237"/>
            <a:ext cx="282175" cy="2359341"/>
          </a:xfrm>
          <a:prstGeom prst="leftBrace">
            <a:avLst/>
          </a:prstGeom>
          <a:ln w="6350"/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426028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84FA0A4-9D8E-0E4B-AD09-CC92AC4C9E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7667" y="2251304"/>
            <a:ext cx="9076666" cy="2355391"/>
          </a:xfrm>
        </p:spPr>
        <p:txBody>
          <a:bodyPr anchor="ctr"/>
          <a:lstStyle/>
          <a:p>
            <a:r>
              <a:rPr lang="en-US" sz="4800"/>
              <a:t>Appendix</a:t>
            </a:r>
            <a:endParaRPr lang="en-US" sz="4400"/>
          </a:p>
        </p:txBody>
      </p:sp>
    </p:spTree>
    <p:extLst>
      <p:ext uri="{BB962C8B-B14F-4D97-AF65-F5344CB8AC3E}">
        <p14:creationId xmlns:p14="http://schemas.microsoft.com/office/powerpoint/2010/main" val="3533953361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: Category Defini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ategory Defini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84226B8-48B2-963B-BB97-3C435121F7BC}"/>
              </a:ext>
            </a:extLst>
          </p:cNvPr>
          <p:cNvCxnSpPr>
            <a:cxnSpLocks/>
          </p:cNvCxnSpPr>
          <p:nvPr/>
        </p:nvCxnSpPr>
        <p:spPr>
          <a:xfrm>
            <a:off x="6096000" y="1541306"/>
            <a:ext cx="0" cy="468521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CFCD1F1-8A29-0A09-5F2C-D771D998B4AC}"/>
              </a:ext>
            </a:extLst>
          </p:cNvPr>
          <p:cNvSpPr txBox="1"/>
          <p:nvPr/>
        </p:nvSpPr>
        <p:spPr>
          <a:xfrm>
            <a:off x="2075510" y="1530489"/>
            <a:ext cx="2299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/>
              <a:t>Q200, Q21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04F4B2-DEF5-43E6-7443-4E86B5482DD4}"/>
              </a:ext>
            </a:extLst>
          </p:cNvPr>
          <p:cNvSpPr txBox="1"/>
          <p:nvPr/>
        </p:nvSpPr>
        <p:spPr>
          <a:xfrm>
            <a:off x="6757145" y="1530489"/>
            <a:ext cx="3739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600" b="1"/>
              <a:t>Q215</a:t>
            </a: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8D42C2E3-96B2-5D32-8A86-9AE8D866D63A}"/>
              </a:ext>
            </a:extLst>
          </p:cNvPr>
          <p:cNvSpPr txBox="1"/>
          <p:nvPr/>
        </p:nvSpPr>
        <p:spPr>
          <a:xfrm>
            <a:off x="1371602" y="1948719"/>
            <a:ext cx="4525789" cy="415498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/>
              <a:t>DOOH (NE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Digital billboards or pos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Street-Level (Sub NE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Street-level or sidewalk stationed digital 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on bus shel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Transit (Sub NE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on the inside or outside of a taxicab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Mobile billboards with digital display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on the side or inside a public bu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in commuter rail or subway cars, platforms, or sta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in airpo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Placed-Based (Sub NE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ignage or video screens in places of busine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in shopping mall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ds on movie theater screens</a:t>
            </a:r>
          </a:p>
          <a:p>
            <a:r>
              <a:rPr lang="en-US" sz="1200" b="1" dirty="0"/>
              <a:t>Traditional Media (NET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Television/Streaming vide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Social Media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Online media, websites, and search engin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Magazines or newspap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dirty="0"/>
              <a:t>Radio, podcasts, and audio streaming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2F779E4-EEAD-0EF1-925A-D3B51AE35142}"/>
              </a:ext>
            </a:extLst>
          </p:cNvPr>
          <p:cNvSpPr txBox="1"/>
          <p:nvPr/>
        </p:nvSpPr>
        <p:spPr>
          <a:xfrm>
            <a:off x="6273447" y="1952260"/>
            <a:ext cx="4706639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Digital billboards or pos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Street-Level (NE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Street-level or sidewalk stationed digital ad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on bus shelt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Transit (NE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on the inside or outside of a taxicab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Mobile billboards with digital display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on the side or inside a public bu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in commuter rail or subway cars, platforms, or station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in airport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200" b="1" dirty="0"/>
              <a:t>Placed-Based (NET)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ignage or video screens in places of busines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Digital screen ads in shopping malls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n-US" sz="1200" dirty="0"/>
              <a:t>Ads on movie theater screens</a:t>
            </a:r>
          </a:p>
          <a:p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06450000"/>
      </p:ext>
    </p:extLst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: Ad Favorability by Format and Lo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>
                <a:latin typeface="Helvetica Light"/>
                <a:cs typeface="Arial"/>
              </a:rPr>
              <a:t>Ad Favorability</a:t>
            </a:r>
            <a:endParaRPr lang="en-US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5E40969-7C48-87A4-0DFB-B60B4CD38F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24593643"/>
              </p:ext>
            </p:extLst>
          </p:nvPr>
        </p:nvGraphicFramePr>
        <p:xfrm>
          <a:off x="831341" y="1618975"/>
          <a:ext cx="10529317" cy="3712844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054309">
                  <a:extLst>
                    <a:ext uri="{9D8B030D-6E8A-4147-A177-3AD203B41FA5}">
                      <a16:colId xmlns:a16="http://schemas.microsoft.com/office/drawing/2014/main" val="3243219964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3802777020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4286983534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2805197540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3259872996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2120293713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3322347722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4116922370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2672649501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% Favor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ale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Femal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Z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illennial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X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F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Boomer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Within Key Transit Market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H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65798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kern="10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/>
                        </a:rPr>
                        <a:t>DOOH (NET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/>
                        </a:rPr>
                        <a:t>7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cs typeface="Arial"/>
                        </a:rPr>
                        <a:t>7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6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80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7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7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6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</a:rPr>
                        <a:t>75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40214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Television/Streaming Video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5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5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56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5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174297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Social media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4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4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7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55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7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4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850119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Online media, websites, and search engines (e.g., banner, display, and video ads, etc.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4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3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5772919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Radio, podcasts, and audio streaming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6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08202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Magazines or newspapers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34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2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2005451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27B4149-7E4D-81D7-794C-3586041D4ED2}"/>
              </a:ext>
            </a:extLst>
          </p:cNvPr>
          <p:cNvSpPr txBox="1"/>
          <p:nvPr/>
        </p:nvSpPr>
        <p:spPr>
          <a:xfrm>
            <a:off x="177447" y="6432635"/>
            <a:ext cx="617053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solidFill>
                  <a:srgbClr val="939598"/>
                </a:solidFill>
                <a:latin typeface="Arial" panose="020B0604020202020204"/>
              </a:rPr>
              <a:t>Q200. Which of the following advertisement formats or locations do you find favorable?</a:t>
            </a:r>
          </a:p>
        </p:txBody>
      </p:sp>
    </p:spTree>
    <p:extLst>
      <p:ext uri="{BB962C8B-B14F-4D97-AF65-F5344CB8AC3E}">
        <p14:creationId xmlns:p14="http://schemas.microsoft.com/office/powerpoint/2010/main" val="729230221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: Ad Favorability by Format and Lo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>
                <a:latin typeface="Helvetica Light"/>
                <a:cs typeface="Arial"/>
              </a:rPr>
              <a:t>Ad Favorability Index</a:t>
            </a:r>
            <a:endParaRPr lang="en-US" dirty="0"/>
          </a:p>
        </p:txBody>
      </p:sp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65E40969-7C48-87A4-0DFB-B60B4CD38F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0856130"/>
              </p:ext>
            </p:extLst>
          </p:nvPr>
        </p:nvGraphicFramePr>
        <p:xfrm>
          <a:off x="831341" y="1618975"/>
          <a:ext cx="10529317" cy="3712844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054309">
                  <a:extLst>
                    <a:ext uri="{9D8B030D-6E8A-4147-A177-3AD203B41FA5}">
                      <a16:colId xmlns:a16="http://schemas.microsoft.com/office/drawing/2014/main" val="3243219964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3802777020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4286983534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2805197540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3259872996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2120293713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3322347722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4116922370"/>
                    </a:ext>
                  </a:extLst>
                </a:gridCol>
                <a:gridCol w="1059376">
                  <a:extLst>
                    <a:ext uri="{9D8B030D-6E8A-4147-A177-3AD203B41FA5}">
                      <a16:colId xmlns:a16="http://schemas.microsoft.com/office/drawing/2014/main" val="2672649501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% Favorabl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ale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Femal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Z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illennial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X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F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Boomer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Within Key Transit Market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H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65798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kern="1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/>
                        </a:rPr>
                        <a:t>DOOH (NET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cs typeface="Arial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10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8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8840214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Television/Streaming Video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174297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Social media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9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4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1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7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4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948501196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Online media, websites, and search engines (e.g., banner, display, and video ads, etc.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1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8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7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157729198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Radio, podcasts, and audio streaming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81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980820204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Magazines or newspapers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5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1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 panose="020B0604020202020204" pitchFamily="34" charset="0"/>
                        </a:rPr>
                        <a:t>14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9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82005451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F27B4149-7E4D-81D7-794C-3586041D4ED2}"/>
              </a:ext>
            </a:extLst>
          </p:cNvPr>
          <p:cNvSpPr txBox="1"/>
          <p:nvPr/>
        </p:nvSpPr>
        <p:spPr>
          <a:xfrm>
            <a:off x="177447" y="6432635"/>
            <a:ext cx="617053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00. Which of the following advertisement formats or locations do you find favorable?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6C3DB3C-3EE4-E899-1533-B44BE10D379A}"/>
              </a:ext>
            </a:extLst>
          </p:cNvPr>
          <p:cNvSpPr txBox="1"/>
          <p:nvPr/>
        </p:nvSpPr>
        <p:spPr>
          <a:xfrm>
            <a:off x="749808" y="5636005"/>
            <a:ext cx="716093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/>
              <a:t>How to interpret the index: the Gen Z population is 10% more likely to view OOH ads favorably than the general population. </a:t>
            </a:r>
          </a:p>
        </p:txBody>
      </p:sp>
    </p:spTree>
    <p:extLst>
      <p:ext uri="{BB962C8B-B14F-4D97-AF65-F5344CB8AC3E}">
        <p14:creationId xmlns:p14="http://schemas.microsoft.com/office/powerpoint/2010/main" val="2766645176"/>
      </p:ext>
    </p:extLst>
  </p:cSld>
  <p:clrMapOvr>
    <a:masterClrMapping/>
  </p:clrMapOvr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: Likelihood to Drive Action by Ad Format and Lo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>
                <a:latin typeface="Helvetica Light"/>
                <a:cs typeface="Arial"/>
              </a:rPr>
              <a:t>Likelihood to Drive Action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CDCED5-E38A-8FB6-E156-24D16AB638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65112858"/>
              </p:ext>
            </p:extLst>
          </p:nvPr>
        </p:nvGraphicFramePr>
        <p:xfrm>
          <a:off x="815841" y="1835845"/>
          <a:ext cx="10560318" cy="3712844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333278">
                  <a:extLst>
                    <a:ext uri="{9D8B030D-6E8A-4147-A177-3AD203B41FA5}">
                      <a16:colId xmlns:a16="http://schemas.microsoft.com/office/drawing/2014/main" val="3243219964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3802777020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4286983534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2805197540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3259872996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2120293713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3322347722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4116922370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2672649501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% Likely to Drive 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ale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Femal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Z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illennial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X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F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Boomer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Within Key Transit Market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H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65798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kern="1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/>
                        </a:rPr>
                        <a:t>DOOH (NET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4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57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4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56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56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43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2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52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40214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Television/Streaming Video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853702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Social media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2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4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52275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Online media, websites, and search engines (e.g., banner, display, and video ads, etc.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4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7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112434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Radio, podcasts, and audio streaming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0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6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514999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Magazines or newspapers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8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24%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396564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6281C91-E2F0-039F-2105-250F958C2FDA}"/>
              </a:ext>
            </a:extLst>
          </p:cNvPr>
          <p:cNvSpPr txBox="1"/>
          <p:nvPr/>
        </p:nvSpPr>
        <p:spPr>
          <a:xfrm>
            <a:off x="177447" y="6432635"/>
            <a:ext cx="617053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800">
                <a:solidFill>
                  <a:srgbClr val="939598"/>
                </a:solidFill>
                <a:latin typeface="Arial" panose="020B0604020202020204"/>
              </a:rPr>
              <a:t>Q210. Which of the following advertisement formats or locations is likely to make you take an action?</a:t>
            </a:r>
          </a:p>
        </p:txBody>
      </p:sp>
    </p:spTree>
    <p:extLst>
      <p:ext uri="{BB962C8B-B14F-4D97-AF65-F5344CB8AC3E}">
        <p14:creationId xmlns:p14="http://schemas.microsoft.com/office/powerpoint/2010/main" val="555157882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: Likelihood to Drive Action by Ad Format and Location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 tIns="45720" rIns="91440" bIns="45720" anchor="t"/>
          <a:lstStyle/>
          <a:p>
            <a:r>
              <a:rPr lang="en-US" dirty="0">
                <a:latin typeface="Helvetica Light"/>
                <a:cs typeface="Arial"/>
              </a:rPr>
              <a:t>Likelihood to Drive Action Index 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F7CDCED5-E38A-8FB6-E156-24D16AB6384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9577898"/>
              </p:ext>
            </p:extLst>
          </p:nvPr>
        </p:nvGraphicFramePr>
        <p:xfrm>
          <a:off x="815841" y="1765279"/>
          <a:ext cx="10560318" cy="3712844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2333278">
                  <a:extLst>
                    <a:ext uri="{9D8B030D-6E8A-4147-A177-3AD203B41FA5}">
                      <a16:colId xmlns:a16="http://schemas.microsoft.com/office/drawing/2014/main" val="3243219964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3802777020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4286983534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2805197540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3259872996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2120293713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3322347722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4116922370"/>
                    </a:ext>
                  </a:extLst>
                </a:gridCol>
                <a:gridCol w="1028380">
                  <a:extLst>
                    <a:ext uri="{9D8B030D-6E8A-4147-A177-3AD203B41FA5}">
                      <a16:colId xmlns:a16="http://schemas.microsoft.com/office/drawing/2014/main" val="2672649501"/>
                    </a:ext>
                  </a:extLst>
                </a:gridCol>
              </a:tblGrid>
              <a:tr h="914400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% Likely to Drive Actio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A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ale</a:t>
                      </a:r>
                    </a:p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B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Female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C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Z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D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Millennial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E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Gen X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F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Boomer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(G)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Within Key Transit Markets</a:t>
                      </a:r>
                    </a:p>
                    <a:p>
                      <a:pPr marL="0" marR="0" lvl="0" indent="0" algn="ctr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dirty="0">
                          <a:solidFill>
                            <a:schemeClr val="tx1"/>
                          </a:solidFill>
                        </a:rPr>
                        <a:t>(H)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657981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algn="l" fontAlgn="b"/>
                      <a:r>
                        <a:rPr lang="en-US" sz="1000" b="1" kern="10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Times New Roman"/>
                        </a:rPr>
                        <a:t>DOOH (NET)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116</a:t>
                      </a: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8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1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114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59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+mj-lt"/>
                          <a:ea typeface="+mn-ea"/>
                          <a:cs typeface="Arial"/>
                        </a:rPr>
                        <a:t>5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highlight>
                            <a:srgbClr val="00FF00"/>
                          </a:highlight>
                          <a:latin typeface="+mj-lt"/>
                          <a:ea typeface="+mn-ea"/>
                          <a:cs typeface="Arial"/>
                        </a:rPr>
                        <a:t>106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884021482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Television/Streaming Video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3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5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0853702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Social media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6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6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7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70522753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</a:rPr>
                        <a:t>Online media, websites, and search engines (e.g., banner, display, and video ads, etc.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6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2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1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4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671124349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Radio, podcasts, and audio streaming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  <a:endParaRPr kumimoji="0" lang="en-US" sz="10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1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9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5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37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74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7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77514999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1" i="0" u="none" strike="noStrike" kern="100" noProof="0">
                          <a:solidFill>
                            <a:srgbClr val="333333"/>
                          </a:solidFill>
                          <a:latin typeface="Arial"/>
                        </a:rPr>
                        <a:t>Magazines or newspapers</a:t>
                      </a:r>
                      <a:endParaRPr lang="en-US" b="1"/>
                    </a:p>
                  </a:txBody>
                  <a:tcPr marL="9524" marR="9524" marT="9524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609585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00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9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38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3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0 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0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88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33965648"/>
                  </a:ext>
                </a:extLst>
              </a:tr>
            </a:tbl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A6281C91-E2F0-039F-2105-250F958C2FDA}"/>
              </a:ext>
            </a:extLst>
          </p:cNvPr>
          <p:cNvSpPr txBox="1"/>
          <p:nvPr/>
        </p:nvSpPr>
        <p:spPr>
          <a:xfrm>
            <a:off x="177447" y="6432635"/>
            <a:ext cx="6170530" cy="215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10. Which of the following advertisement formats or locations is likely to make you take an action?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990349A-259A-24CF-8D06-F5A744FDCC10}"/>
              </a:ext>
            </a:extLst>
          </p:cNvPr>
          <p:cNvSpPr txBox="1"/>
          <p:nvPr/>
        </p:nvSpPr>
        <p:spPr>
          <a:xfrm>
            <a:off x="722376" y="5752675"/>
            <a:ext cx="816281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i="1" dirty="0"/>
              <a:t>How to interpret the index: the Gen Z population is 16% more likely to take an action after OOH ad exposure than the general population. </a:t>
            </a:r>
          </a:p>
        </p:txBody>
      </p:sp>
    </p:spTree>
    <p:extLst>
      <p:ext uri="{BB962C8B-B14F-4D97-AF65-F5344CB8AC3E}">
        <p14:creationId xmlns:p14="http://schemas.microsoft.com/office/powerpoint/2010/main" val="60204162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: Viewing Frequency of DOOH Ad Format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Viewing Frequency of DOOH Ad Formats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BD098BE0-F630-FE31-0202-B8310B856DE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69577499"/>
              </p:ext>
            </p:extLst>
          </p:nvPr>
        </p:nvGraphicFramePr>
        <p:xfrm>
          <a:off x="241058" y="1448462"/>
          <a:ext cx="11566624" cy="4731732"/>
        </p:xfrm>
        <a:graphic>
          <a:graphicData uri="http://schemas.openxmlformats.org/drawingml/2006/table">
            <a:tbl>
              <a:tblPr firstRow="1" bandRow="1">
                <a:tableStyleId>{616DA210-FB5B-4158-B5E0-FEB733F419BA}</a:tableStyleId>
              </a:tblPr>
              <a:tblGrid>
                <a:gridCol w="3429000">
                  <a:extLst>
                    <a:ext uri="{9D8B030D-6E8A-4147-A177-3AD203B41FA5}">
                      <a16:colId xmlns:a16="http://schemas.microsoft.com/office/drawing/2014/main" val="3243219964"/>
                    </a:ext>
                  </a:extLst>
                </a:gridCol>
                <a:gridCol w="2034406">
                  <a:extLst>
                    <a:ext uri="{9D8B030D-6E8A-4147-A177-3AD203B41FA5}">
                      <a16:colId xmlns:a16="http://schemas.microsoft.com/office/drawing/2014/main" val="3080199671"/>
                    </a:ext>
                  </a:extLst>
                </a:gridCol>
                <a:gridCol w="2034406">
                  <a:extLst>
                    <a:ext uri="{9D8B030D-6E8A-4147-A177-3AD203B41FA5}">
                      <a16:colId xmlns:a16="http://schemas.microsoft.com/office/drawing/2014/main" val="3802777020"/>
                    </a:ext>
                  </a:extLst>
                </a:gridCol>
                <a:gridCol w="2034406">
                  <a:extLst>
                    <a:ext uri="{9D8B030D-6E8A-4147-A177-3AD203B41FA5}">
                      <a16:colId xmlns:a16="http://schemas.microsoft.com/office/drawing/2014/main" val="4286983534"/>
                    </a:ext>
                  </a:extLst>
                </a:gridCol>
                <a:gridCol w="2034406">
                  <a:extLst>
                    <a:ext uri="{9D8B030D-6E8A-4147-A177-3AD203B41FA5}">
                      <a16:colId xmlns:a16="http://schemas.microsoft.com/office/drawing/2014/main" val="2805197540"/>
                    </a:ext>
                  </a:extLst>
                </a:gridCol>
              </a:tblGrid>
              <a:tr h="418306"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% Se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>
                          <a:solidFill>
                            <a:schemeClr val="tx1"/>
                          </a:solidFill>
                        </a:rPr>
                        <a:t>Total % Seen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Past Week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Past Month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000">
                          <a:solidFill>
                            <a:schemeClr val="tx1"/>
                          </a:solidFill>
                        </a:rPr>
                        <a:t>Past 3 Month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46579810"/>
                  </a:ext>
                </a:extLst>
              </a:tr>
              <a:tr h="3539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billboards or post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79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6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4093056539"/>
                  </a:ext>
                </a:extLst>
              </a:tr>
              <a:tr h="48266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Street-level or sidewalk stationed digital display advertis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6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8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3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299405275"/>
                  </a:ext>
                </a:extLst>
              </a:tr>
              <a:tr h="22524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Mobile billboard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6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3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598929680"/>
                  </a:ext>
                </a:extLst>
              </a:tr>
              <a:tr h="3539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screen ads on/inside public bu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i="0" u="none" strike="noStrike" kern="100" noProof="0">
                          <a:solidFill>
                            <a:schemeClr val="tx1"/>
                          </a:solidFill>
                          <a:latin typeface="Arial"/>
                        </a:rPr>
                        <a:t>60%</a:t>
                      </a:r>
                      <a:endParaRPr lang="en-US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030671603"/>
                  </a:ext>
                </a:extLst>
              </a:tr>
              <a:tr h="3539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screen ads on bus shelter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91440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56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2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4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8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3393481114"/>
                  </a:ext>
                </a:extLst>
              </a:tr>
              <a:tr h="4826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screen ads in/outside of taxi cabs or ride share vehicle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60958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5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1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9%</a:t>
                      </a: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2339806625"/>
                  </a:ext>
                </a:extLst>
              </a:tr>
              <a:tr h="4826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screen ads on rails cars, platforms, or statio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60958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55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0842517"/>
                  </a:ext>
                </a:extLst>
              </a:tr>
              <a:tr h="35395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screen ads in airport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60958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71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3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13831738"/>
                  </a:ext>
                </a:extLst>
              </a:tr>
              <a:tr h="35395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screen ads in shopping mall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60958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8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7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683409148"/>
                  </a:ext>
                </a:extLst>
              </a:tr>
              <a:tr h="482660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Digital signage or video screens in places of busines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60958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77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9%</a:t>
                      </a: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24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6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97336603"/>
                  </a:ext>
                </a:extLst>
              </a:tr>
              <a:tr h="353951">
                <a:tc>
                  <a:txBody>
                    <a:bodyPr/>
                    <a:lstStyle/>
                    <a:p>
                      <a:pPr marL="0" marR="0" lvl="0" indent="0" algn="l" defTabSz="609585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Ads on movie theater screens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lvl="0" indent="0" algn="ctr" defTabSz="609585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  <a:tabLst/>
                        <a:defRPr/>
                      </a:pPr>
                      <a:r>
                        <a:rPr lang="en-US" sz="1100" b="0" kern="100">
                          <a:solidFill>
                            <a:schemeClr val="tx1"/>
                          </a:solidFill>
                          <a:latin typeface="Arial"/>
                          <a:ea typeface="Calibri"/>
                          <a:cs typeface="Arial"/>
                        </a:rPr>
                        <a:t>8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2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/>
                          <a:ea typeface="+mn-ea"/>
                          <a:cs typeface="Arial"/>
                        </a:rPr>
                        <a:t>18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5%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239202084"/>
                  </a:ext>
                </a:extLst>
              </a:tr>
            </a:tbl>
          </a:graphicData>
        </a:graphic>
      </p:graphicFrame>
      <p:sp>
        <p:nvSpPr>
          <p:cNvPr id="7" name="TextBox 11">
            <a:extLst>
              <a:ext uri="{FF2B5EF4-FFF2-40B4-BE49-F238E27FC236}">
                <a16:creationId xmlns:a16="http://schemas.microsoft.com/office/drawing/2014/main" id="{87AD387C-5F3B-5D53-B53E-756B8E98D4B6}"/>
              </a:ext>
            </a:extLst>
          </p:cNvPr>
          <p:cNvSpPr txBox="1"/>
          <p:nvPr/>
        </p:nvSpPr>
        <p:spPr>
          <a:xfrm>
            <a:off x="167895" y="6180194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215. When was the last time you noticed advertising in each of the following types of digital out-of-home formats or locations?</a:t>
            </a:r>
            <a:b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9395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“Total % </a:t>
            </a:r>
            <a:r>
              <a:rPr lang="en-US" sz="800" dirty="0">
                <a:solidFill>
                  <a:srgbClr val="939598"/>
                </a:solidFill>
                <a:latin typeface="Arial" panose="020B0604020202020204"/>
              </a:rPr>
              <a:t>Seen” includes respondents who noticed DOOH ads more than three months ago, along with those who noticed in the past week, month or past three months. </a:t>
            </a:r>
            <a:endParaRPr kumimoji="0" lang="en-US" sz="800" b="0" i="0" u="none" strike="noStrike" kern="1200" cap="none" spc="0" normalizeH="0" baseline="0" noProof="0" dirty="0">
              <a:ln>
                <a:noFill/>
              </a:ln>
              <a:solidFill>
                <a:srgbClr val="939598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5806515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6361417B-3C2C-E875-EC65-FC5B7D1A2C6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1">
                <a:latin typeface="+mj-lt"/>
              </a:rPr>
              <a:t>Key Findings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0695952-0AD9-3D3D-1DBD-46732A12554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09979" y="1195195"/>
            <a:ext cx="10772041" cy="5144645"/>
          </a:xfrm>
        </p:spPr>
        <p:txBody>
          <a:bodyPr/>
          <a:lstStyle/>
          <a:p>
            <a:pPr marL="79246" indent="0">
              <a:buNone/>
            </a:pPr>
            <a:r>
              <a:rPr lang="en-US" sz="1600" b="1" dirty="0">
                <a:solidFill>
                  <a:schemeClr val="accent1"/>
                </a:solidFill>
              </a:rPr>
              <a:t>DOOH Drives Store Traffic + Impacts Retail Purchasing Decisions.</a:t>
            </a:r>
          </a:p>
          <a:p>
            <a:r>
              <a:rPr lang="en-US" dirty="0"/>
              <a:t>30% of consumers have recently noticed DOOH ads providing directions to a business. </a:t>
            </a:r>
          </a:p>
          <a:p>
            <a:r>
              <a:rPr lang="en-US" dirty="0"/>
              <a:t>51% of those who noticed the directional DOOH ad visited the business. </a:t>
            </a:r>
          </a:p>
          <a:p>
            <a:r>
              <a:rPr lang="en-US" dirty="0"/>
              <a:t>93% of those who noticed the directional DOOH ad and visited the business made a purchase. </a:t>
            </a:r>
          </a:p>
          <a:p>
            <a:r>
              <a:rPr lang="en-US" dirty="0"/>
              <a:t>77% of consumers notice DOOH ads when making purchases inside businesses. </a:t>
            </a:r>
          </a:p>
          <a:p>
            <a:pPr marL="79246" indent="0">
              <a:buNone/>
            </a:pPr>
            <a:endParaRPr lang="en-US" dirty="0"/>
          </a:p>
          <a:p>
            <a:pPr marL="79246" indent="0">
              <a:buNone/>
            </a:pPr>
            <a:r>
              <a:rPr lang="en-US" sz="1600" b="1" dirty="0">
                <a:solidFill>
                  <a:schemeClr val="accent1"/>
                </a:solidFill>
              </a:rPr>
              <a:t>Types of DOOH Ads that Generate Consumer Notice and Likelihood to Act.</a:t>
            </a:r>
          </a:p>
          <a:p>
            <a:r>
              <a:rPr lang="en-US" dirty="0"/>
              <a:t>At least half are more likely to notice DOOH ads featuring cost savings at grocery stores and restaurants, or upcoming movie releases.</a:t>
            </a:r>
          </a:p>
          <a:p>
            <a:r>
              <a:rPr lang="en-US" dirty="0"/>
              <a:t>Over 70% are likely to share DOOH ad content they deem entertaining (creative, clever, humorous) or that features their favorite products or brands.</a:t>
            </a:r>
          </a:p>
          <a:p>
            <a:endParaRPr lang="en-US" dirty="0"/>
          </a:p>
          <a:p>
            <a:pPr marL="79246" indent="0">
              <a:buNone/>
            </a:pPr>
            <a:r>
              <a:rPr lang="en-US" sz="1600" b="1" dirty="0">
                <a:solidFill>
                  <a:schemeClr val="accent1"/>
                </a:solidFill>
              </a:rPr>
              <a:t>Contextual, Dynamic DOOH Ads Drive Consumer Interest.</a:t>
            </a:r>
          </a:p>
          <a:p>
            <a:r>
              <a:rPr lang="en-US" dirty="0"/>
              <a:t>Dynamic ad content with deals, offers related to current weather conditions, and time-specific discounts are among those consumers consider most useful.</a:t>
            </a:r>
          </a:p>
          <a:p>
            <a:pPr lvl="1"/>
            <a:r>
              <a:rPr lang="en-US" dirty="0"/>
              <a:t>86% rate ads with special deals on groceries useful.</a:t>
            </a:r>
          </a:p>
          <a:p>
            <a:pPr lvl="1"/>
            <a:r>
              <a:rPr lang="en-US" dirty="0"/>
              <a:t>84% rate ads with special deals at restaurants useful. </a:t>
            </a:r>
          </a:p>
          <a:p>
            <a:pPr lvl="1"/>
            <a:r>
              <a:rPr lang="en-US" dirty="0"/>
              <a:t>81% rate ads with offers related to current weather conditions useful (temperature, precipitation, etc.)</a:t>
            </a:r>
          </a:p>
          <a:p>
            <a:pPr lvl="1"/>
            <a:r>
              <a:rPr lang="en-US" dirty="0"/>
              <a:t>80% rate ads with time-specific offers useful (food menus, beverages, etc.)</a:t>
            </a:r>
          </a:p>
          <a:p>
            <a:pPr lvl="1"/>
            <a:r>
              <a:rPr lang="en-US" dirty="0"/>
              <a:t>80% rate ads with special deals on clothing, shoes or accessories useful.</a:t>
            </a:r>
          </a:p>
          <a:p>
            <a:pPr lvl="1"/>
            <a:r>
              <a:rPr lang="en-US" dirty="0"/>
              <a:t>78% rate ads with notifications/reminders about local special events useful. </a:t>
            </a:r>
          </a:p>
          <a:p>
            <a:endParaRPr lang="en-US" dirty="0"/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AFDD659-8836-D265-4E82-DE08A144C7B9}"/>
              </a:ext>
            </a:extLst>
          </p:cNvPr>
          <p:cNvSpPr txBox="1">
            <a:spLocks/>
          </p:cNvSpPr>
          <p:nvPr/>
        </p:nvSpPr>
        <p:spPr>
          <a:xfrm>
            <a:off x="177449" y="266913"/>
            <a:ext cx="6096000" cy="252573"/>
          </a:xfrm>
          <a:prstGeom prst="rect">
            <a:avLst/>
          </a:prstGeom>
        </p:spPr>
        <p:txBody>
          <a:bodyPr/>
          <a:lstStyle>
            <a:lvl1pPr marL="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067" b="0" i="0" kern="1200">
                <a:solidFill>
                  <a:schemeClr val="accent1"/>
                </a:solidFill>
                <a:latin typeface="Helvetica Light" panose="020B0403020202020204" pitchFamily="34" charset="0"/>
                <a:ea typeface="+mn-ea"/>
                <a:cs typeface="+mn-cs"/>
              </a:defRPr>
            </a:lvl1pPr>
            <a:lvl2pPr marL="990575" indent="-380990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067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1523962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1067" b="1" kern="1200" cap="none" spc="0">
                <a:ln>
                  <a:noFill/>
                </a:ln>
                <a:solidFill>
                  <a:schemeClr val="accent1"/>
                </a:solidFill>
                <a:effectLst/>
                <a:latin typeface="+mn-lt"/>
                <a:ea typeface="+mn-ea"/>
                <a:cs typeface="+mn-cs"/>
              </a:defRPr>
            </a:lvl3pPr>
            <a:lvl4pPr marL="2133547" indent="-304792" algn="l" defTabSz="609585" rtl="0" eaLnBrk="1" latinLnBrk="0" hangingPunct="1">
              <a:spcBef>
                <a:spcPct val="20000"/>
              </a:spcBef>
              <a:buFont typeface="Arial"/>
              <a:buChar char="–"/>
              <a:defRPr sz="1067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2743131" indent="-304792" algn="l" defTabSz="609585" rtl="0" eaLnBrk="1" latinLnBrk="0" hangingPunct="1">
              <a:spcBef>
                <a:spcPct val="20000"/>
              </a:spcBef>
              <a:buFont typeface="Arial"/>
              <a:buChar char="»"/>
              <a:defRPr sz="1067" b="1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609585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kumimoji="0" lang="en-US" sz="1067" b="1" i="0" u="none" strike="noStrike" kern="1200" cap="none" spc="0" normalizeH="0" baseline="0" noProof="0">
                <a:ln>
                  <a:noFill/>
                </a:ln>
                <a:solidFill>
                  <a:srgbClr val="FF8769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OAAA DOOH</a:t>
            </a:r>
          </a:p>
        </p:txBody>
      </p:sp>
    </p:spTree>
    <p:extLst>
      <p:ext uri="{BB962C8B-B14F-4D97-AF65-F5344CB8AC3E}">
        <p14:creationId xmlns:p14="http://schemas.microsoft.com/office/powerpoint/2010/main" val="50392772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ages for Advertisement Types</a:t>
            </a:r>
          </a:p>
        </p:txBody>
      </p:sp>
      <p:pic>
        <p:nvPicPr>
          <p:cNvPr id="12" name="Picture 11" descr="Cars on the road with a sign&#10;&#10;Description automatically generated">
            <a:extLst>
              <a:ext uri="{FF2B5EF4-FFF2-40B4-BE49-F238E27FC236}">
                <a16:creationId xmlns:a16="http://schemas.microsoft.com/office/drawing/2014/main" id="{613E9425-5C4F-095F-9EFE-E0EE58861C3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9855" y="1817592"/>
            <a:ext cx="3116502" cy="1463040"/>
          </a:xfrm>
          <a:prstGeom prst="rect">
            <a:avLst/>
          </a:prstGeom>
        </p:spPr>
      </p:pic>
      <p:pic>
        <p:nvPicPr>
          <p:cNvPr id="15" name="Picture 14" descr="A group of people standing on a sidewalk&#10;&#10;Description automatically generated">
            <a:extLst>
              <a:ext uri="{FF2B5EF4-FFF2-40B4-BE49-F238E27FC236}">
                <a16:creationId xmlns:a16="http://schemas.microsoft.com/office/drawing/2014/main" id="{672BC127-217A-40B2-70F9-E899560C3AE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7280" y="1200736"/>
            <a:ext cx="2377440" cy="2079388"/>
          </a:xfrm>
          <a:prstGeom prst="rect">
            <a:avLst/>
          </a:prstGeom>
        </p:spPr>
      </p:pic>
      <p:pic>
        <p:nvPicPr>
          <p:cNvPr id="17" name="Picture 16" descr="A truck with a large screen on it&#10;&#10;Description automatically generated">
            <a:extLst>
              <a:ext uri="{FF2B5EF4-FFF2-40B4-BE49-F238E27FC236}">
                <a16:creationId xmlns:a16="http://schemas.microsoft.com/office/drawing/2014/main" id="{13BB3668-B44D-477D-3BD5-08DD5A94C00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448" y="1221459"/>
            <a:ext cx="2743200" cy="2057400"/>
          </a:xfrm>
          <a:prstGeom prst="rect">
            <a:avLst/>
          </a:prstGeom>
        </p:spPr>
      </p:pic>
      <p:pic>
        <p:nvPicPr>
          <p:cNvPr id="19" name="Picture 18" descr="A person looking at a screen&#10;&#10;Description automatically generated">
            <a:extLst>
              <a:ext uri="{FF2B5EF4-FFF2-40B4-BE49-F238E27FC236}">
                <a16:creationId xmlns:a16="http://schemas.microsoft.com/office/drawing/2014/main" id="{9EC01D52-5301-5485-B3D6-A287B6EC377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1020" y="3951325"/>
            <a:ext cx="2743200" cy="1828069"/>
          </a:xfrm>
          <a:prstGeom prst="rect">
            <a:avLst/>
          </a:prstGeom>
        </p:spPr>
      </p:pic>
      <p:pic>
        <p:nvPicPr>
          <p:cNvPr id="34" name="Picture 33" descr="A yellow taxi cab with a screen on top&#10;&#10;Description automatically generated">
            <a:extLst>
              <a:ext uri="{FF2B5EF4-FFF2-40B4-BE49-F238E27FC236}">
                <a16:creationId xmlns:a16="http://schemas.microsoft.com/office/drawing/2014/main" id="{FE319A51-F766-FA6C-C2E4-97F302E15B1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62448" y="3958976"/>
            <a:ext cx="2743200" cy="1832458"/>
          </a:xfrm>
          <a:prstGeom prst="rect">
            <a:avLst/>
          </a:prstGeom>
        </p:spPr>
      </p:pic>
      <p:pic>
        <p:nvPicPr>
          <p:cNvPr id="36" name="Picture 35" descr="A bus stop with a sign on it&#10;&#10;Description automatically generated">
            <a:extLst>
              <a:ext uri="{FF2B5EF4-FFF2-40B4-BE49-F238E27FC236}">
                <a16:creationId xmlns:a16="http://schemas.microsoft.com/office/drawing/2014/main" id="{E6F543FD-DBBE-42C5-94CF-69261BEC8193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07280" y="3755991"/>
            <a:ext cx="2377440" cy="2027928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FA99654-4957-7364-77F4-640DD859D3DC}"/>
              </a:ext>
            </a:extLst>
          </p:cNvPr>
          <p:cNvSpPr/>
          <p:nvPr/>
        </p:nvSpPr>
        <p:spPr>
          <a:xfrm>
            <a:off x="749855" y="3280124"/>
            <a:ext cx="3116502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billboards or poster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35F82FD-23FB-79D1-7107-31C0E00F957E}"/>
              </a:ext>
            </a:extLst>
          </p:cNvPr>
          <p:cNvSpPr/>
          <p:nvPr/>
        </p:nvSpPr>
        <p:spPr>
          <a:xfrm>
            <a:off x="4907280" y="3280124"/>
            <a:ext cx="237744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Street-level or sidewalk stationed </a:t>
            </a:r>
          </a:p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display advertising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8EE4D648-66E3-BEC4-6068-59F5DF3D565F}"/>
              </a:ext>
            </a:extLst>
          </p:cNvPr>
          <p:cNvSpPr/>
          <p:nvPr/>
        </p:nvSpPr>
        <p:spPr>
          <a:xfrm>
            <a:off x="8362448" y="3280124"/>
            <a:ext cx="274320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Mobile billboards with digital display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3EF1D0E-E646-16D0-5D22-B03DB7748051}"/>
              </a:ext>
            </a:extLst>
          </p:cNvPr>
          <p:cNvSpPr/>
          <p:nvPr/>
        </p:nvSpPr>
        <p:spPr>
          <a:xfrm>
            <a:off x="8362448" y="5793151"/>
            <a:ext cx="274320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creen ads on the inside or outside </a:t>
            </a:r>
          </a:p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of taxi cabs or ride share vehicl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CCB32AE6-93A3-2D03-DF12-3BE158B53B0F}"/>
              </a:ext>
            </a:extLst>
          </p:cNvPr>
          <p:cNvSpPr/>
          <p:nvPr/>
        </p:nvSpPr>
        <p:spPr>
          <a:xfrm>
            <a:off x="951020" y="5776183"/>
            <a:ext cx="274320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creen ads on the side of or </a:t>
            </a:r>
          </a:p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inside a public bus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8706C7A3-6E94-080D-9FF7-A75FC08D8B45}"/>
              </a:ext>
            </a:extLst>
          </p:cNvPr>
          <p:cNvSpPr/>
          <p:nvPr/>
        </p:nvSpPr>
        <p:spPr>
          <a:xfrm>
            <a:off x="4907280" y="5782575"/>
            <a:ext cx="237744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creen ads on bus shelters</a:t>
            </a:r>
          </a:p>
        </p:txBody>
      </p:sp>
    </p:spTree>
    <p:extLst>
      <p:ext uri="{BB962C8B-B14F-4D97-AF65-F5344CB8AC3E}">
        <p14:creationId xmlns:p14="http://schemas.microsoft.com/office/powerpoint/2010/main" val="2528486287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ages for Advertisement Types</a:t>
            </a:r>
          </a:p>
        </p:txBody>
      </p:sp>
      <p:pic>
        <p:nvPicPr>
          <p:cNvPr id="24" name="Picture 23" descr="A group of people in a movie theater&#10;&#10;Description automatically generated">
            <a:extLst>
              <a:ext uri="{FF2B5EF4-FFF2-40B4-BE49-F238E27FC236}">
                <a16:creationId xmlns:a16="http://schemas.microsoft.com/office/drawing/2014/main" id="{3F09222C-97AC-2658-C362-A318C37B829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79445" y="4052739"/>
            <a:ext cx="2743200" cy="1849250"/>
          </a:xfrm>
          <a:prstGeom prst="rect">
            <a:avLst/>
          </a:prstGeom>
        </p:spPr>
      </p:pic>
      <p:pic>
        <p:nvPicPr>
          <p:cNvPr id="26" name="Picture 25" descr="A person standing at a reception desk&#10;&#10;Description automatically generated">
            <a:extLst>
              <a:ext uri="{FF2B5EF4-FFF2-40B4-BE49-F238E27FC236}">
                <a16:creationId xmlns:a16="http://schemas.microsoft.com/office/drawing/2014/main" id="{27C610AE-3D92-D37E-75A7-84A76BEB72D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8771" y="4039072"/>
            <a:ext cx="2926080" cy="1844584"/>
          </a:xfrm>
          <a:prstGeom prst="rect">
            <a:avLst/>
          </a:prstGeom>
        </p:spPr>
      </p:pic>
      <p:pic>
        <p:nvPicPr>
          <p:cNvPr id="28" name="Picture 27" descr="A person walking in a mall&#10;&#10;Description automatically generated">
            <a:extLst>
              <a:ext uri="{FF2B5EF4-FFF2-40B4-BE49-F238E27FC236}">
                <a16:creationId xmlns:a16="http://schemas.microsoft.com/office/drawing/2014/main" id="{CCEAF4AE-BB48-2B09-34CC-1A92496FA64E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65046" y="1266182"/>
            <a:ext cx="2194560" cy="2194560"/>
          </a:xfrm>
          <a:prstGeom prst="rect">
            <a:avLst/>
          </a:prstGeom>
        </p:spPr>
      </p:pic>
      <p:pic>
        <p:nvPicPr>
          <p:cNvPr id="30" name="Picture 29" descr="A large screen in a building&#10;&#10;Description automatically generated">
            <a:extLst>
              <a:ext uri="{FF2B5EF4-FFF2-40B4-BE49-F238E27FC236}">
                <a16:creationId xmlns:a16="http://schemas.microsoft.com/office/drawing/2014/main" id="{9F649A95-047F-C95A-2AD1-4C9E3D1ECBC2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7886" y="1630075"/>
            <a:ext cx="2743200" cy="1828800"/>
          </a:xfrm>
          <a:prstGeom prst="rect">
            <a:avLst/>
          </a:prstGeom>
        </p:spPr>
      </p:pic>
      <p:pic>
        <p:nvPicPr>
          <p:cNvPr id="32" name="Picture 31" descr="A group of people walking in a subway&#10;&#10;Description automatically generated">
            <a:extLst>
              <a:ext uri="{FF2B5EF4-FFF2-40B4-BE49-F238E27FC236}">
                <a16:creationId xmlns:a16="http://schemas.microsoft.com/office/drawing/2014/main" id="{353FB801-2A9B-BDC2-DFB8-7139474CEDEA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856" y="1600200"/>
            <a:ext cx="3520439" cy="18288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8F09A61A-532F-E2A2-5C68-B1D842C49DFA}"/>
              </a:ext>
            </a:extLst>
          </p:cNvPr>
          <p:cNvSpPr/>
          <p:nvPr/>
        </p:nvSpPr>
        <p:spPr>
          <a:xfrm>
            <a:off x="616855" y="3426475"/>
            <a:ext cx="3520439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creen ads in commuter rail or subway cars, platforms, or station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FBFE8140-F518-0F2D-C1DB-8A0B8DD8E57C}"/>
              </a:ext>
            </a:extLst>
          </p:cNvPr>
          <p:cNvSpPr/>
          <p:nvPr/>
        </p:nvSpPr>
        <p:spPr>
          <a:xfrm>
            <a:off x="6779446" y="5895497"/>
            <a:ext cx="274320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Ads on movie theater screen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04DFF6C5-8A19-141B-3EEF-784D80D797DE}"/>
              </a:ext>
            </a:extLst>
          </p:cNvPr>
          <p:cNvSpPr/>
          <p:nvPr/>
        </p:nvSpPr>
        <p:spPr>
          <a:xfrm>
            <a:off x="2518771" y="5889153"/>
            <a:ext cx="2926079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ignage or video screens in </a:t>
            </a:r>
          </a:p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places of busines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4170B4-2003-F081-1CDC-D9C3E49681EB}"/>
              </a:ext>
            </a:extLst>
          </p:cNvPr>
          <p:cNvSpPr/>
          <p:nvPr/>
        </p:nvSpPr>
        <p:spPr>
          <a:xfrm>
            <a:off x="9165046" y="3452747"/>
            <a:ext cx="219456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creen ads in </a:t>
            </a:r>
          </a:p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shopping mall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A46D9918-365C-3BBA-D024-17B0BC6C7D89}"/>
              </a:ext>
            </a:extLst>
          </p:cNvPr>
          <p:cNvSpPr/>
          <p:nvPr/>
        </p:nvSpPr>
        <p:spPr>
          <a:xfrm>
            <a:off x="5217886" y="3460627"/>
            <a:ext cx="274320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creen ads in airports</a:t>
            </a:r>
          </a:p>
        </p:txBody>
      </p:sp>
    </p:spTree>
    <p:extLst>
      <p:ext uri="{BB962C8B-B14F-4D97-AF65-F5344CB8AC3E}">
        <p14:creationId xmlns:p14="http://schemas.microsoft.com/office/powerpoint/2010/main" val="267869305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Appendix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Images for Advertisement Types</a:t>
            </a:r>
          </a:p>
        </p:txBody>
      </p:sp>
      <p:sp>
        <p:nvSpPr>
          <p:cNvPr id="5" name="Text Placeholder 3">
            <a:extLst>
              <a:ext uri="{FF2B5EF4-FFF2-40B4-BE49-F238E27FC236}">
                <a16:creationId xmlns:a16="http://schemas.microsoft.com/office/drawing/2014/main" id="{264DBB07-67D4-61B8-942D-E3D30CDB4935}"/>
              </a:ext>
            </a:extLst>
          </p:cNvPr>
          <p:cNvSpPr txBox="1">
            <a:spLocks/>
          </p:cNvSpPr>
          <p:nvPr/>
        </p:nvSpPr>
        <p:spPr>
          <a:xfrm>
            <a:off x="8117340" y="1805939"/>
            <a:ext cx="2564373" cy="320041"/>
          </a:xfrm>
          <a:prstGeom prst="rect">
            <a:avLst/>
          </a:prstGeom>
        </p:spPr>
        <p:txBody>
          <a:bodyPr/>
          <a:lstStyle>
            <a:lvl1pPr marL="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400" b="0" i="0" kern="1200">
                <a:solidFill>
                  <a:schemeClr val="tx2"/>
                </a:solidFill>
                <a:latin typeface="Helvetica Light" panose="020B0403020202020204" pitchFamily="34" charset="0"/>
                <a:ea typeface="+mn-ea"/>
                <a:cs typeface="+mn-cs"/>
              </a:defRPr>
            </a:lvl1pPr>
            <a:lvl2pPr marL="609585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219170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b="0" kern="1200" cap="none" spc="0">
                <a:ln>
                  <a:noFill/>
                </a:ln>
                <a:solidFill>
                  <a:schemeClr val="tx2"/>
                </a:solidFill>
                <a:effectLst/>
                <a:latin typeface="+mn-lt"/>
                <a:ea typeface="+mn-ea"/>
                <a:cs typeface="+mn-cs"/>
              </a:defRPr>
            </a:lvl3pPr>
            <a:lvl4pPr marL="1828754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2438339" indent="0" algn="l" defTabSz="609585" rtl="0" eaLnBrk="1" latinLnBrk="0" hangingPunct="1">
              <a:spcBef>
                <a:spcPct val="20000"/>
              </a:spcBef>
              <a:buFont typeface="Arial"/>
              <a:buNone/>
              <a:defRPr sz="1333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335271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62301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886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181470" indent="-304792" algn="l" defTabSz="609585" rtl="0" eaLnBrk="1" latinLnBrk="0" hangingPunct="1">
              <a:spcBef>
                <a:spcPct val="20000"/>
              </a:spcBef>
              <a:buFont typeface="Arial"/>
              <a:buChar char="•"/>
              <a:defRPr sz="266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/>
              <a:t>For Q335 and Q340</a:t>
            </a:r>
          </a:p>
        </p:txBody>
      </p:sp>
      <p:pic>
        <p:nvPicPr>
          <p:cNvPr id="8" name="Picture 7" descr="A person pointing at a screen&#10;&#10;Description automatically generated">
            <a:extLst>
              <a:ext uri="{FF2B5EF4-FFF2-40B4-BE49-F238E27FC236}">
                <a16:creationId xmlns:a16="http://schemas.microsoft.com/office/drawing/2014/main" id="{21DD7AE6-F466-6B45-5A5E-AC29AC034F3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01642" y="3908590"/>
            <a:ext cx="4156360" cy="1828800"/>
          </a:xfrm>
          <a:prstGeom prst="rect">
            <a:avLst/>
          </a:prstGeom>
        </p:spPr>
      </p:pic>
      <p:pic>
        <p:nvPicPr>
          <p:cNvPr id="10" name="Picture 9" descr="A close-up of a screen&#10;&#10;Description automatically generated">
            <a:extLst>
              <a:ext uri="{FF2B5EF4-FFF2-40B4-BE49-F238E27FC236}">
                <a16:creationId xmlns:a16="http://schemas.microsoft.com/office/drawing/2014/main" id="{40BE649C-33E9-417E-2242-2C4304342F5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99262" y="1439817"/>
            <a:ext cx="3258740" cy="1828800"/>
          </a:xfrm>
          <a:prstGeom prst="rect">
            <a:avLst/>
          </a:prstGeom>
        </p:spPr>
      </p:pic>
      <p:pic>
        <p:nvPicPr>
          <p:cNvPr id="14" name="Picture 13" descr="A car parked on the side of a street&#10;&#10;Description automatically generated">
            <a:extLst>
              <a:ext uri="{FF2B5EF4-FFF2-40B4-BE49-F238E27FC236}">
                <a16:creationId xmlns:a16="http://schemas.microsoft.com/office/drawing/2014/main" id="{A10CAF3D-ECB2-F1D6-3BC5-27F28D9CFE4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97" y="1454331"/>
            <a:ext cx="2765910" cy="1828800"/>
          </a:xfrm>
          <a:prstGeom prst="rect">
            <a:avLst/>
          </a:prstGeom>
        </p:spPr>
      </p:pic>
      <p:pic>
        <p:nvPicPr>
          <p:cNvPr id="18" name="Picture 17" descr="A bus stop with a sign on it&#10;&#10;Description automatically generated">
            <a:extLst>
              <a:ext uri="{FF2B5EF4-FFF2-40B4-BE49-F238E27FC236}">
                <a16:creationId xmlns:a16="http://schemas.microsoft.com/office/drawing/2014/main" id="{51D784E2-11CB-D437-6F29-28BD62F4D37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97" y="3908590"/>
            <a:ext cx="2143990" cy="1828800"/>
          </a:xfrm>
          <a:prstGeom prst="rect">
            <a:avLst/>
          </a:prstGeom>
        </p:spPr>
      </p:pic>
      <p:pic>
        <p:nvPicPr>
          <p:cNvPr id="22" name="Picture 21" descr="A building with a large advertisement on the side&#10;&#10;Description automatically generated">
            <a:extLst>
              <a:ext uri="{FF2B5EF4-FFF2-40B4-BE49-F238E27FC236}">
                <a16:creationId xmlns:a16="http://schemas.microsoft.com/office/drawing/2014/main" id="{11FD6511-7984-F5D4-F57C-C46F340DE3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90466" y="2286000"/>
            <a:ext cx="3319917" cy="2286000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3FE56C97-ED54-4618-1FBA-29B8362C4E88}"/>
              </a:ext>
            </a:extLst>
          </p:cNvPr>
          <p:cNvCxnSpPr>
            <a:cxnSpLocks/>
          </p:cNvCxnSpPr>
          <p:nvPr/>
        </p:nvCxnSpPr>
        <p:spPr>
          <a:xfrm>
            <a:off x="7678055" y="951899"/>
            <a:ext cx="0" cy="5303758"/>
          </a:xfrm>
          <a:prstGeom prst="line">
            <a:avLst/>
          </a:prstGeom>
          <a:ln>
            <a:solidFill>
              <a:schemeClr val="tx2"/>
            </a:solidFill>
          </a:ln>
        </p:spPr>
        <p:style>
          <a:lnRef idx="1">
            <a:schemeClr val="accent6"/>
          </a:lnRef>
          <a:fillRef idx="0">
            <a:schemeClr val="accent6"/>
          </a:fillRef>
          <a:effectRef idx="0">
            <a:schemeClr val="accent6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4B0A1A81-3B50-11FF-8147-5BEBD8C9ED6A}"/>
              </a:ext>
            </a:extLst>
          </p:cNvPr>
          <p:cNvSpPr/>
          <p:nvPr/>
        </p:nvSpPr>
        <p:spPr>
          <a:xfrm>
            <a:off x="415197" y="5738823"/>
            <a:ext cx="2143986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treet leve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C4051DB-CD33-2CFC-DC07-37564D144B4F}"/>
              </a:ext>
            </a:extLst>
          </p:cNvPr>
          <p:cNvSpPr/>
          <p:nvPr/>
        </p:nvSpPr>
        <p:spPr>
          <a:xfrm>
            <a:off x="3898359" y="3264935"/>
            <a:ext cx="3258740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transit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A4E828FF-F22A-8437-00AF-7053F40A97C5}"/>
              </a:ext>
            </a:extLst>
          </p:cNvPr>
          <p:cNvSpPr/>
          <p:nvPr/>
        </p:nvSpPr>
        <p:spPr>
          <a:xfrm>
            <a:off x="414897" y="3276601"/>
            <a:ext cx="2765905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billboards or poster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737D8A-6465-ED87-CC80-6E422F3E891B}"/>
              </a:ext>
            </a:extLst>
          </p:cNvPr>
          <p:cNvSpPr/>
          <p:nvPr/>
        </p:nvSpPr>
        <p:spPr>
          <a:xfrm>
            <a:off x="3001637" y="5728657"/>
            <a:ext cx="4155457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Digital signage or video screens in places of busines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05A0AFC-5F8C-7C84-A892-A7EC36FCB932}"/>
              </a:ext>
            </a:extLst>
          </p:cNvPr>
          <p:cNvSpPr/>
          <p:nvPr/>
        </p:nvSpPr>
        <p:spPr>
          <a:xfrm>
            <a:off x="8190465" y="4572000"/>
            <a:ext cx="3319917" cy="320040"/>
          </a:xfrm>
          <a:prstGeom prst="rect">
            <a:avLst/>
          </a:prstGeom>
          <a:solidFill>
            <a:schemeClr val="accent1"/>
          </a:solidFill>
        </p:spPr>
        <p:txBody>
          <a:bodyPr wrap="square" lIns="0" tIns="0" rIns="0" bIns="0" anchor="ctr">
            <a:noAutofit/>
          </a:bodyPr>
          <a:lstStyle/>
          <a:p>
            <a:pPr algn="ctr"/>
            <a:r>
              <a:rPr lang="en-US" sz="1100">
                <a:solidFill>
                  <a:schemeClr val="bg1"/>
                </a:solidFill>
                <a:latin typeface="+mj-lt"/>
              </a:rPr>
              <a:t>3D digital ads</a:t>
            </a:r>
          </a:p>
        </p:txBody>
      </p:sp>
    </p:spTree>
    <p:extLst>
      <p:ext uri="{BB962C8B-B14F-4D97-AF65-F5344CB8AC3E}">
        <p14:creationId xmlns:p14="http://schemas.microsoft.com/office/powerpoint/2010/main" val="52822480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7B9351C8-8FFB-4DEB-9A08-F6C66100292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919049" y="4965545"/>
            <a:ext cx="3504644" cy="1129755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01CD8AE-FD1B-4C50-B675-289402BBC1E8}"/>
              </a:ext>
            </a:extLst>
          </p:cNvPr>
          <p:cNvSpPr txBox="1"/>
          <p:nvPr/>
        </p:nvSpPr>
        <p:spPr>
          <a:xfrm>
            <a:off x="5276088" y="6310744"/>
            <a:ext cx="6662157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r"/>
            <a:r>
              <a:rPr lang="en-US" sz="1000" dirty="0">
                <a:solidFill>
                  <a:schemeClr val="bg1"/>
                </a:solidFill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“The Effectiveness of Digital OOH Advertising” study was sponsored by The Foundation for Out of Home Advertising Research and Education (FOARE), a 501 (c) (3) not for profit, charitable organization. </a:t>
            </a:r>
            <a:endParaRPr lang="en-US" sz="1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57634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Box 25">
            <a:extLst>
              <a:ext uri="{FF2B5EF4-FFF2-40B4-BE49-F238E27FC236}">
                <a16:creationId xmlns:a16="http://schemas.microsoft.com/office/drawing/2014/main" id="{324A59C7-EA0E-36D9-3A85-44F7D893A203}"/>
              </a:ext>
            </a:extLst>
          </p:cNvPr>
          <p:cNvSpPr txBox="1"/>
          <p:nvPr/>
        </p:nvSpPr>
        <p:spPr>
          <a:xfrm>
            <a:off x="850142" y="5699049"/>
            <a:ext cx="32122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f adults 18-64 are past month public transit users,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within the last week</a:t>
            </a:r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Introduction: Audience Definitions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Audience Definitions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84226B8-48B2-963B-BB97-3C435121F7BC}"/>
              </a:ext>
            </a:extLst>
          </p:cNvPr>
          <p:cNvCxnSpPr>
            <a:cxnSpLocks/>
          </p:cNvCxnSpPr>
          <p:nvPr/>
        </p:nvCxnSpPr>
        <p:spPr>
          <a:xfrm>
            <a:off x="4254786" y="1499742"/>
            <a:ext cx="0" cy="468521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F2E6A6CF-860C-03A9-D2EA-C0902C5BB840}"/>
              </a:ext>
            </a:extLst>
          </p:cNvPr>
          <p:cNvCxnSpPr>
            <a:cxnSpLocks/>
          </p:cNvCxnSpPr>
          <p:nvPr/>
        </p:nvCxnSpPr>
        <p:spPr>
          <a:xfrm>
            <a:off x="998497" y="3842347"/>
            <a:ext cx="10113689" cy="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22EA7-DCEE-0522-3D77-EF1FE79F109B}"/>
              </a:ext>
            </a:extLst>
          </p:cNvPr>
          <p:cNvCxnSpPr>
            <a:cxnSpLocks/>
          </p:cNvCxnSpPr>
          <p:nvPr/>
        </p:nvCxnSpPr>
        <p:spPr>
          <a:xfrm>
            <a:off x="7909081" y="1503309"/>
            <a:ext cx="0" cy="4685210"/>
          </a:xfrm>
          <a:prstGeom prst="line">
            <a:avLst/>
          </a:prstGeom>
          <a:ln w="9525">
            <a:solidFill>
              <a:schemeClr val="accent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CFCD1F1-8A29-0A09-5F2C-D771D998B4AC}"/>
              </a:ext>
            </a:extLst>
          </p:cNvPr>
          <p:cNvSpPr txBox="1"/>
          <p:nvPr/>
        </p:nvSpPr>
        <p:spPr>
          <a:xfrm>
            <a:off x="5001367" y="1591895"/>
            <a:ext cx="229987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t Month Walker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A8C10C65-559A-A9DD-BD22-66A08652F142}"/>
              </a:ext>
            </a:extLst>
          </p:cNvPr>
          <p:cNvSpPr txBox="1"/>
          <p:nvPr/>
        </p:nvSpPr>
        <p:spPr>
          <a:xfrm>
            <a:off x="642598" y="1599425"/>
            <a:ext cx="3739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t Month Private Vehicle User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FB04F4B2-DEF5-43E6-7443-4E86B5482DD4}"/>
              </a:ext>
            </a:extLst>
          </p:cNvPr>
          <p:cNvSpPr txBox="1"/>
          <p:nvPr/>
        </p:nvSpPr>
        <p:spPr>
          <a:xfrm>
            <a:off x="582921" y="3909842"/>
            <a:ext cx="3739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t Month Public Transit User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C6C7DA2E-CB91-E8F8-E941-336B21664ABB}"/>
              </a:ext>
            </a:extLst>
          </p:cNvPr>
          <p:cNvSpPr txBox="1"/>
          <p:nvPr/>
        </p:nvSpPr>
        <p:spPr>
          <a:xfrm>
            <a:off x="7810162" y="1574241"/>
            <a:ext cx="3739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t 12 Month Flyer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698B31D-8820-92C8-BFF1-AFAC8660D2CA}"/>
              </a:ext>
            </a:extLst>
          </p:cNvPr>
          <p:cNvSpPr txBox="1"/>
          <p:nvPr/>
        </p:nvSpPr>
        <p:spPr>
          <a:xfrm>
            <a:off x="8022162" y="3924307"/>
            <a:ext cx="3739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Past Month Rail Users</a:t>
            </a:r>
          </a:p>
        </p:txBody>
      </p:sp>
      <p:pic>
        <p:nvPicPr>
          <p:cNvPr id="16" name="Graphic 15" descr="Shoe footprints outline">
            <a:extLst>
              <a:ext uri="{FF2B5EF4-FFF2-40B4-BE49-F238E27FC236}">
                <a16:creationId xmlns:a16="http://schemas.microsoft.com/office/drawing/2014/main" id="{8BB2DFE8-05E8-5AF6-AD08-AE2A22EA5B8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532272" y="2259178"/>
            <a:ext cx="914400" cy="914400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3A1F6DD-6CF7-0EB0-76A5-231BA9482C98}"/>
              </a:ext>
            </a:extLst>
          </p:cNvPr>
          <p:cNvSpPr txBox="1"/>
          <p:nvPr/>
        </p:nvSpPr>
        <p:spPr>
          <a:xfrm>
            <a:off x="5446672" y="2184905"/>
            <a:ext cx="195128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walked in a town, city, or downtown are within the past month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468D79C7-A5D4-49B0-7223-EFC4FF9E8BA0}"/>
              </a:ext>
            </a:extLst>
          </p:cNvPr>
          <p:cNvSpPr txBox="1"/>
          <p:nvPr/>
        </p:nvSpPr>
        <p:spPr>
          <a:xfrm>
            <a:off x="4803876" y="3279228"/>
            <a:ext cx="293914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7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f adults 18-64 are past month walkers,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2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within the last week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C6799181-50F8-242A-E2EA-D8031ACE0FDB}"/>
              </a:ext>
            </a:extLst>
          </p:cNvPr>
          <p:cNvSpPr txBox="1"/>
          <p:nvPr/>
        </p:nvSpPr>
        <p:spPr>
          <a:xfrm>
            <a:off x="1899745" y="2185081"/>
            <a:ext cx="188142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driven or ridden in a car, truck, or other private vehicle within the past month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15D8407-CC4C-494C-3A92-99005B4A997E}"/>
              </a:ext>
            </a:extLst>
          </p:cNvPr>
          <p:cNvSpPr txBox="1"/>
          <p:nvPr/>
        </p:nvSpPr>
        <p:spPr>
          <a:xfrm>
            <a:off x="1094606" y="3173578"/>
            <a:ext cx="293914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4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f adults 18-64 are past month private vehicle users,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1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within the last week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1E8353E8-D4C6-5EDA-DD7C-F1F1F2BAECCA}"/>
              </a:ext>
            </a:extLst>
          </p:cNvPr>
          <p:cNvSpPr txBox="1"/>
          <p:nvPr/>
        </p:nvSpPr>
        <p:spPr>
          <a:xfrm>
            <a:off x="1864813" y="4309017"/>
            <a:ext cx="1951284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ridden as a passenger in a taxi, public bus, or ride-share car service within the past month</a:t>
            </a:r>
          </a:p>
        </p:txBody>
      </p:sp>
      <p:pic>
        <p:nvPicPr>
          <p:cNvPr id="27" name="Graphic 26" descr="Taxi outline">
            <a:extLst>
              <a:ext uri="{FF2B5EF4-FFF2-40B4-BE49-F238E27FC236}">
                <a16:creationId xmlns:a16="http://schemas.microsoft.com/office/drawing/2014/main" id="{7BCB4266-8B84-E65B-AC11-2006BA6FE2E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637406" y="4313338"/>
            <a:ext cx="914400" cy="914400"/>
          </a:xfrm>
          <a:prstGeom prst="rect">
            <a:avLst/>
          </a:prstGeom>
        </p:spPr>
      </p:pic>
      <p:pic>
        <p:nvPicPr>
          <p:cNvPr id="29" name="Graphic 28" descr="Car outline">
            <a:extLst>
              <a:ext uri="{FF2B5EF4-FFF2-40B4-BE49-F238E27FC236}">
                <a16:creationId xmlns:a16="http://schemas.microsoft.com/office/drawing/2014/main" id="{75AFF024-F85B-CE57-2853-E3FB9EE1F6C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38693" y="2163339"/>
            <a:ext cx="914400" cy="914400"/>
          </a:xfrm>
          <a:prstGeom prst="rect">
            <a:avLst/>
          </a:prstGeom>
        </p:spPr>
      </p:pic>
      <p:sp>
        <p:nvSpPr>
          <p:cNvPr id="30" name="TextBox 29">
            <a:extLst>
              <a:ext uri="{FF2B5EF4-FFF2-40B4-BE49-F238E27FC236}">
                <a16:creationId xmlns:a16="http://schemas.microsoft.com/office/drawing/2014/main" id="{02243304-E47F-2E27-CC85-4C7719512ABB}"/>
              </a:ext>
            </a:extLst>
          </p:cNvPr>
          <p:cNvSpPr txBox="1"/>
          <p:nvPr/>
        </p:nvSpPr>
        <p:spPr>
          <a:xfrm>
            <a:off x="8137191" y="5703034"/>
            <a:ext cx="32122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17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f adults 18-64 are past month rail users,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9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within the last week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D46D2C6E-D97A-FC23-A7AA-E025C84BA044}"/>
              </a:ext>
            </a:extLst>
          </p:cNvPr>
          <p:cNvSpPr txBox="1"/>
          <p:nvPr/>
        </p:nvSpPr>
        <p:spPr>
          <a:xfrm>
            <a:off x="8966898" y="4510728"/>
            <a:ext cx="211382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ridden as a passenger on a commuter rail or subway in the past month</a:t>
            </a:r>
          </a:p>
        </p:txBody>
      </p:sp>
      <p:pic>
        <p:nvPicPr>
          <p:cNvPr id="33" name="Graphic 32" descr="Train outline">
            <a:extLst>
              <a:ext uri="{FF2B5EF4-FFF2-40B4-BE49-F238E27FC236}">
                <a16:creationId xmlns:a16="http://schemas.microsoft.com/office/drawing/2014/main" id="{C6D85EE9-189C-8AC0-D3A0-BBFB467253A2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069183" y="4592294"/>
            <a:ext cx="914400" cy="914400"/>
          </a:xfrm>
          <a:prstGeom prst="rect">
            <a:avLst/>
          </a:prstGeom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8D42C2E3-96B2-5D32-8A86-9AE8D866D63A}"/>
              </a:ext>
            </a:extLst>
          </p:cNvPr>
          <p:cNvSpPr txBox="1"/>
          <p:nvPr/>
        </p:nvSpPr>
        <p:spPr>
          <a:xfrm>
            <a:off x="8224105" y="3206778"/>
            <a:ext cx="32122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54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f adults 18-64 are past 12-month flyers, with </a:t>
            </a: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38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within the last 6 months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77C5BAB5-FCF4-07A8-4318-431E28BC01FF}"/>
              </a:ext>
            </a:extLst>
          </p:cNvPr>
          <p:cNvSpPr txBox="1"/>
          <p:nvPr/>
        </p:nvSpPr>
        <p:spPr>
          <a:xfrm>
            <a:off x="9156889" y="2229210"/>
            <a:ext cx="173384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Have taken a trip via airplane in the past 12 months</a:t>
            </a:r>
          </a:p>
        </p:txBody>
      </p:sp>
      <p:pic>
        <p:nvPicPr>
          <p:cNvPr id="39" name="Graphic 38" descr="Plane Window outline">
            <a:extLst>
              <a:ext uri="{FF2B5EF4-FFF2-40B4-BE49-F238E27FC236}">
                <a16:creationId xmlns:a16="http://schemas.microsoft.com/office/drawing/2014/main" id="{32150893-99D9-DE46-A201-CE17EE0B0B22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74036" y="2156977"/>
            <a:ext cx="914400" cy="914400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A7D875A6-6F1D-2721-7EA8-E15F6450BDD4}"/>
              </a:ext>
            </a:extLst>
          </p:cNvPr>
          <p:cNvSpPr txBox="1"/>
          <p:nvPr/>
        </p:nvSpPr>
        <p:spPr>
          <a:xfrm>
            <a:off x="4282920" y="3913706"/>
            <a:ext cx="373924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Key Transit Market Residents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BA3A2A6A-7253-8B63-9C42-FAFE1992D462}"/>
              </a:ext>
            </a:extLst>
          </p:cNvPr>
          <p:cNvSpPr txBox="1"/>
          <p:nvPr/>
        </p:nvSpPr>
        <p:spPr>
          <a:xfrm>
            <a:off x="4532272" y="5750876"/>
            <a:ext cx="360947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</a:t>
            </a:r>
            <a:r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% of adults 18-64 are key transit market residents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01293D78-BDB7-420A-433F-C62DC2B7C679}"/>
              </a:ext>
            </a:extLst>
          </p:cNvPr>
          <p:cNvSpPr txBox="1"/>
          <p:nvPr/>
        </p:nvSpPr>
        <p:spPr>
          <a:xfrm>
            <a:off x="5521101" y="4473855"/>
            <a:ext cx="1873890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Live in the New York, Philadelphia, Boston, Washington, D.C., Chicago, or San Francisco DMA</a:t>
            </a:r>
          </a:p>
        </p:txBody>
      </p:sp>
      <p:pic>
        <p:nvPicPr>
          <p:cNvPr id="45" name="Graphic 44" descr="City outline">
            <a:extLst>
              <a:ext uri="{FF2B5EF4-FFF2-40B4-BE49-F238E27FC236}">
                <a16:creationId xmlns:a16="http://schemas.microsoft.com/office/drawing/2014/main" id="{B0CF202B-7AA5-3CE5-ABB0-003DA9B6AC10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491584" y="4639748"/>
            <a:ext cx="914400" cy="914400"/>
          </a:xfrm>
          <a:prstGeom prst="rect">
            <a:avLst/>
          </a:prstGeom>
        </p:spPr>
      </p:pic>
      <p:sp>
        <p:nvSpPr>
          <p:cNvPr id="9" name="TextBox 11">
            <a:extLst>
              <a:ext uri="{FF2B5EF4-FFF2-40B4-BE49-F238E27FC236}">
                <a16:creationId xmlns:a16="http://schemas.microsoft.com/office/drawing/2014/main" id="{3006516E-BC41-3211-1918-1F7A6C6F5AD9}"/>
              </a:ext>
            </a:extLst>
          </p:cNvPr>
          <p:cNvSpPr txBox="1"/>
          <p:nvPr/>
        </p:nvSpPr>
        <p:spPr>
          <a:xfrm>
            <a:off x="177447" y="6363621"/>
            <a:ext cx="925026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100. When was the last time you…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Q105. When was the last time you took a trip via airplane?</a:t>
            </a:r>
          </a:p>
        </p:txBody>
      </p:sp>
    </p:spTree>
    <p:extLst>
      <p:ext uri="{BB962C8B-B14F-4D97-AF65-F5344CB8AC3E}">
        <p14:creationId xmlns:p14="http://schemas.microsoft.com/office/powerpoint/2010/main" val="19183014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>
            <a:extLst>
              <a:ext uri="{FF2B5EF4-FFF2-40B4-BE49-F238E27FC236}">
                <a16:creationId xmlns:a16="http://schemas.microsoft.com/office/drawing/2014/main" id="{584FA0A4-9D8E-0E4B-AD09-CC92AC4C9ED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57667" y="2251304"/>
            <a:ext cx="9076666" cy="2355391"/>
          </a:xfrm>
        </p:spPr>
        <p:txBody>
          <a:bodyPr anchor="ctr"/>
          <a:lstStyle/>
          <a:p>
            <a:r>
              <a:rPr lang="en-US" sz="4400"/>
              <a:t>Detailed Findings</a:t>
            </a:r>
          </a:p>
        </p:txBody>
      </p:sp>
    </p:spTree>
    <p:extLst>
      <p:ext uri="{BB962C8B-B14F-4D97-AF65-F5344CB8AC3E}">
        <p14:creationId xmlns:p14="http://schemas.microsoft.com/office/powerpoint/2010/main" val="8041423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39339CF-073D-30E1-BA36-832BB5D406A2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sz="6000"/>
              <a:t>The State of DOOH Advertis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42951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1F3AF97-3485-0086-0D5C-A7C0AF597D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1269080"/>
              </p:ext>
            </p:extLst>
          </p:nvPr>
        </p:nvGraphicFramePr>
        <p:xfrm>
          <a:off x="-191030" y="2207541"/>
          <a:ext cx="6566253" cy="3580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OOH is the most favorably viewed advertising format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 dirty="0">
                <a:solidFill>
                  <a:schemeClr val="accent1"/>
                </a:solidFill>
              </a:rPr>
              <a:t>Those in large urban areas, transit users, and younger generations are most favorable toward DOOH ads.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6109007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ALL QUALIFIED RESPONDENTS (n=1,02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39598"/>
                </a:solidFill>
                <a:latin typeface="Arial" panose="020B0604020202020204"/>
              </a:rPr>
              <a:t>Q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00. Which of the following advertisement formats or locations do you find favorable?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2F1CEF-75EA-D4EE-8848-E9B2474458D8}"/>
              </a:ext>
            </a:extLst>
          </p:cNvPr>
          <p:cNvSpPr txBox="1"/>
          <p:nvPr/>
        </p:nvSpPr>
        <p:spPr>
          <a:xfrm>
            <a:off x="1280532" y="1810539"/>
            <a:ext cx="3889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d Type Favorabilit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5D3456-658B-7437-4D61-0CA88BB84677}"/>
              </a:ext>
            </a:extLst>
          </p:cNvPr>
          <p:cNvSpPr txBox="1"/>
          <p:nvPr/>
        </p:nvSpPr>
        <p:spPr>
          <a:xfrm>
            <a:off x="8583652" y="1838143"/>
            <a:ext cx="22042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US"/>
              <a:t>% DOOH Favorability</a:t>
            </a:r>
          </a:p>
        </p:txBody>
      </p:sp>
      <p:sp>
        <p:nvSpPr>
          <p:cNvPr id="7" name="Right Brace 6">
            <a:extLst>
              <a:ext uri="{FF2B5EF4-FFF2-40B4-BE49-F238E27FC236}">
                <a16:creationId xmlns:a16="http://schemas.microsoft.com/office/drawing/2014/main" id="{2374004A-C84E-A14B-0D95-896B2749B627}"/>
              </a:ext>
            </a:extLst>
          </p:cNvPr>
          <p:cNvSpPr/>
          <p:nvPr/>
        </p:nvSpPr>
        <p:spPr>
          <a:xfrm>
            <a:off x="5120320" y="2999605"/>
            <a:ext cx="348696" cy="1989117"/>
          </a:xfrm>
          <a:prstGeom prst="rightBrace">
            <a:avLst/>
          </a:prstGeom>
          <a:ln>
            <a:solidFill>
              <a:srgbClr val="019EDB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6062302-195D-7ED1-AF8A-49F73A6BE022}"/>
              </a:ext>
            </a:extLst>
          </p:cNvPr>
          <p:cNvSpPr txBox="1"/>
          <p:nvPr/>
        </p:nvSpPr>
        <p:spPr>
          <a:xfrm>
            <a:off x="5469016" y="3670997"/>
            <a:ext cx="1260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rgbClr val="019EDB"/>
                </a:solidFill>
              </a:rPr>
              <a:t>76% </a:t>
            </a:r>
          </a:p>
          <a:p>
            <a:r>
              <a:rPr lang="en-US" sz="1200" b="1"/>
              <a:t>Traditional Media NE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0A983E-E730-7EE3-8266-8D92515BFDEB}"/>
              </a:ext>
            </a:extLst>
          </p:cNvPr>
          <p:cNvSpPr txBox="1"/>
          <p:nvPr/>
        </p:nvSpPr>
        <p:spPr>
          <a:xfrm>
            <a:off x="9074389" y="5850345"/>
            <a:ext cx="1859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*</a:t>
            </a:r>
            <a:r>
              <a:rPr lang="en-US" sz="900"/>
              <a:t> </a:t>
            </a:r>
            <a:r>
              <a:rPr lang="en-US" sz="900" b="1"/>
              <a:t>Past Month</a:t>
            </a:r>
          </a:p>
          <a:p>
            <a:r>
              <a:rPr lang="en-US" sz="900" b="1"/>
              <a:t>** Past 12 Months</a:t>
            </a:r>
          </a:p>
        </p:txBody>
      </p:sp>
      <p:graphicFrame>
        <p:nvGraphicFramePr>
          <p:cNvPr id="12" name="Chart 11">
            <a:extLst>
              <a:ext uri="{FF2B5EF4-FFF2-40B4-BE49-F238E27FC236}">
                <a16:creationId xmlns:a16="http://schemas.microsoft.com/office/drawing/2014/main" id="{DB06F0CF-A9E2-D490-86C4-4180A163A3B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44223221"/>
              </p:ext>
            </p:extLst>
          </p:nvPr>
        </p:nvGraphicFramePr>
        <p:xfrm>
          <a:off x="7469035" y="2207541"/>
          <a:ext cx="3680127" cy="3580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19801732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2CBADB9A-A4C2-0D06-7959-0DAFCACB8B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en-US"/>
              <a:t>The State of DOOH Advertising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640B9BD7-D74E-FFCE-B36B-B877ACEDFFB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Digital OOH is the ad format most likely to drive consumer action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6B4FCEB-64D1-9597-A264-98344D25F0D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n-US" b="1">
                <a:solidFill>
                  <a:schemeClr val="accent1"/>
                </a:solidFill>
              </a:rPr>
              <a:t>Large urban residents, transit users, and younger generations are most driven by DOOH ads to take action.</a:t>
            </a:r>
          </a:p>
        </p:txBody>
      </p:sp>
      <p:sp>
        <p:nvSpPr>
          <p:cNvPr id="5" name="TextBox 11">
            <a:extLst>
              <a:ext uri="{FF2B5EF4-FFF2-40B4-BE49-F238E27FC236}">
                <a16:creationId xmlns:a16="http://schemas.microsoft.com/office/drawing/2014/main" id="{0FEF224F-2110-E268-E0B1-4E3BFD2C4122}"/>
              </a:ext>
            </a:extLst>
          </p:cNvPr>
          <p:cNvSpPr txBox="1"/>
          <p:nvPr/>
        </p:nvSpPr>
        <p:spPr>
          <a:xfrm>
            <a:off x="177447" y="6109007"/>
            <a:ext cx="925026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Harris Poll </a:t>
            </a:r>
          </a:p>
          <a:p>
            <a:pPr defTabSz="914377">
              <a:defRPr/>
            </a:pPr>
            <a:r>
              <a:rPr kumimoji="0" lang="en-US" sz="800" b="0" i="0" u="sng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BASE: ALL QUALIFIED RESPONDENTS (n=1,023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>
                <a:solidFill>
                  <a:srgbClr val="939598"/>
                </a:solidFill>
                <a:latin typeface="Arial" panose="020B0604020202020204"/>
              </a:rPr>
              <a:t>Q</a:t>
            </a: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rgbClr val="939598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210. Which of the following advertisement formats or locations is likely to make you take an action?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D1F3AF97-3485-0086-0D5C-A7C0AF597D4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533139839"/>
              </p:ext>
            </p:extLst>
          </p:nvPr>
        </p:nvGraphicFramePr>
        <p:xfrm>
          <a:off x="-191030" y="2207541"/>
          <a:ext cx="6566253" cy="3580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AB2F1CEF-75EA-D4EE-8848-E9B2474458D8}"/>
              </a:ext>
            </a:extLst>
          </p:cNvPr>
          <p:cNvSpPr txBox="1"/>
          <p:nvPr/>
        </p:nvSpPr>
        <p:spPr>
          <a:xfrm>
            <a:off x="1280532" y="1810539"/>
            <a:ext cx="3889829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b="1"/>
              <a:t>Ad Types to Drive Action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F5D3456-658B-7437-4D61-0CA88BB84677}"/>
              </a:ext>
            </a:extLst>
          </p:cNvPr>
          <p:cNvSpPr txBox="1"/>
          <p:nvPr/>
        </p:nvSpPr>
        <p:spPr>
          <a:xfrm>
            <a:off x="8068395" y="1838143"/>
            <a:ext cx="2204277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n-US"/>
            </a:defPPr>
            <a:lvl1pPr algn="ctr">
              <a:defRPr sz="1200" b="1"/>
            </a:lvl1pPr>
          </a:lstStyle>
          <a:p>
            <a:r>
              <a:rPr lang="en-US"/>
              <a:t>% DOOH Drove Action</a:t>
            </a:r>
          </a:p>
        </p:txBody>
      </p:sp>
      <p:sp>
        <p:nvSpPr>
          <p:cNvPr id="8" name="Right Brace 7">
            <a:extLst>
              <a:ext uri="{FF2B5EF4-FFF2-40B4-BE49-F238E27FC236}">
                <a16:creationId xmlns:a16="http://schemas.microsoft.com/office/drawing/2014/main" id="{4EBF8F22-114F-301F-72F4-045DBD088554}"/>
              </a:ext>
            </a:extLst>
          </p:cNvPr>
          <p:cNvSpPr/>
          <p:nvPr/>
        </p:nvSpPr>
        <p:spPr>
          <a:xfrm>
            <a:off x="4802578" y="3019418"/>
            <a:ext cx="348696" cy="2017039"/>
          </a:xfrm>
          <a:prstGeom prst="rightBrace">
            <a:avLst/>
          </a:prstGeom>
          <a:ln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5A0B283-D263-9F88-D88E-CEE9A1CC5329}"/>
              </a:ext>
            </a:extLst>
          </p:cNvPr>
          <p:cNvSpPr txBox="1"/>
          <p:nvPr/>
        </p:nvSpPr>
        <p:spPr>
          <a:xfrm>
            <a:off x="5151274" y="3690810"/>
            <a:ext cx="12601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>
                <a:solidFill>
                  <a:schemeClr val="accent2"/>
                </a:solidFill>
              </a:rPr>
              <a:t>63% </a:t>
            </a:r>
          </a:p>
          <a:p>
            <a:r>
              <a:rPr lang="en-US" sz="1200" b="1"/>
              <a:t>Traditional Media NET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4E37998-184D-7460-CE13-DC6E0B32DBC0}"/>
              </a:ext>
            </a:extLst>
          </p:cNvPr>
          <p:cNvSpPr txBox="1"/>
          <p:nvPr/>
        </p:nvSpPr>
        <p:spPr>
          <a:xfrm>
            <a:off x="8806759" y="5823755"/>
            <a:ext cx="185953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b="1"/>
              <a:t>*</a:t>
            </a:r>
            <a:r>
              <a:rPr lang="en-US" sz="900"/>
              <a:t> </a:t>
            </a:r>
            <a:r>
              <a:rPr lang="en-US" sz="900" b="1"/>
              <a:t>Past Month</a:t>
            </a:r>
          </a:p>
          <a:p>
            <a:r>
              <a:rPr lang="en-US" sz="900" b="1"/>
              <a:t>** Past 12 Months</a:t>
            </a:r>
          </a:p>
        </p:txBody>
      </p:sp>
      <p:graphicFrame>
        <p:nvGraphicFramePr>
          <p:cNvPr id="13" name="Chart 12">
            <a:extLst>
              <a:ext uri="{FF2B5EF4-FFF2-40B4-BE49-F238E27FC236}">
                <a16:creationId xmlns:a16="http://schemas.microsoft.com/office/drawing/2014/main" id="{478EAC7F-CC31-6ACC-33D6-36BE2FEE2C0F}"/>
              </a:ext>
            </a:extLst>
          </p:cNvPr>
          <p:cNvGraphicFramePr/>
          <p:nvPr/>
        </p:nvGraphicFramePr>
        <p:xfrm>
          <a:off x="6959085" y="2209104"/>
          <a:ext cx="4080621" cy="35804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2368456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2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6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21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1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3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15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22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4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8.xml><?xml version="1.0" encoding="utf-8"?>
<a:theme xmlns:a="http://schemas.openxmlformats.org/drawingml/2006/main" name="26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9.xml><?xml version="1.0" encoding="utf-8"?>
<a:theme xmlns:a="http://schemas.openxmlformats.org/drawingml/2006/main" name="27_Full Page Header">
  <a:themeElements>
    <a:clrScheme name="Custom 13">
      <a:dk1>
        <a:srgbClr val="000000"/>
      </a:dk1>
      <a:lt1>
        <a:srgbClr val="FFFFFF"/>
      </a:lt1>
      <a:dk2>
        <a:srgbClr val="939598"/>
      </a:dk2>
      <a:lt2>
        <a:srgbClr val="44474E"/>
      </a:lt2>
      <a:accent1>
        <a:srgbClr val="00CF9C"/>
      </a:accent1>
      <a:accent2>
        <a:srgbClr val="FF8769"/>
      </a:accent2>
      <a:accent3>
        <a:srgbClr val="E3DECE"/>
      </a:accent3>
      <a:accent4>
        <a:srgbClr val="019EDB"/>
      </a:accent4>
      <a:accent5>
        <a:srgbClr val="E0CC38"/>
      </a:accent5>
      <a:accent6>
        <a:srgbClr val="A31034"/>
      </a:accent6>
      <a:hlink>
        <a:srgbClr val="30CF9C"/>
      </a:hlink>
      <a:folHlink>
        <a:srgbClr val="FB836C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Override1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3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4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5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6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Custom 13">
    <a:dk1>
      <a:srgbClr val="000000"/>
    </a:dk1>
    <a:lt1>
      <a:srgbClr val="FFFFFF"/>
    </a:lt1>
    <a:dk2>
      <a:srgbClr val="939598"/>
    </a:dk2>
    <a:lt2>
      <a:srgbClr val="44474E"/>
    </a:lt2>
    <a:accent1>
      <a:srgbClr val="00CF9C"/>
    </a:accent1>
    <a:accent2>
      <a:srgbClr val="FF8769"/>
    </a:accent2>
    <a:accent3>
      <a:srgbClr val="E3DECE"/>
    </a:accent3>
    <a:accent4>
      <a:srgbClr val="019EDB"/>
    </a:accent4>
    <a:accent5>
      <a:srgbClr val="E0CC38"/>
    </a:accent5>
    <a:accent6>
      <a:srgbClr val="A31034"/>
    </a:accent6>
    <a:hlink>
      <a:srgbClr val="30CF9C"/>
    </a:hlink>
    <a:folHlink>
      <a:srgbClr val="FB836C"/>
    </a:folHlink>
  </a:clrScheme>
  <a:fontScheme name="Arial">
    <a:maj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ajorFont>
    <a:minorFont>
      <a:latin typeface="Arial" panose="020B0604020202020204"/>
      <a:ea typeface=""/>
      <a:cs typeface=""/>
      <a:font script="Jpan" typeface="ＭＳ Ｐゴシック"/>
      <a:font script="Hang" typeface="굴림"/>
      <a:font script="Hans" typeface="黑体"/>
      <a:font script="Hant" typeface="微軟正黑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BD0B955D17822488E3D6493B9383791" ma:contentTypeVersion="18" ma:contentTypeDescription="Create a new document." ma:contentTypeScope="" ma:versionID="f222bbc7edfdca3c6d5aa97fcb1100a6">
  <xsd:schema xmlns:xsd="http://www.w3.org/2001/XMLSchema" xmlns:xs="http://www.w3.org/2001/XMLSchema" xmlns:p="http://schemas.microsoft.com/office/2006/metadata/properties" xmlns:ns2="08496985-b4e7-44f6-a0fb-cf9483876b39" xmlns:ns3="e29b85ed-18c3-4aa1-9352-a89c372114b7" targetNamespace="http://schemas.microsoft.com/office/2006/metadata/properties" ma:root="true" ma:fieldsID="15a6ee89bfd6b3b534536ab6839d0dcd" ns2:_="" ns3:_="">
    <xsd:import namespace="08496985-b4e7-44f6-a0fb-cf9483876b39"/>
    <xsd:import namespace="e29b85ed-18c3-4aa1-9352-a89c372114b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OCR" minOccurs="0"/>
                <xsd:element ref="ns2:MediaServiceAutoKeyPoints" minOccurs="0"/>
                <xsd:element ref="ns2:MediaServiceKeyPoints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8496985-b4e7-44f6-a0fb-cf9483876b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3" nillable="true" ma:displayName="MediaServiceDateTaken" ma:hidden="true" ma:internalName="MediaServiceDateTaken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AutoKeyPoints" ma:index="15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6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1965c139-1191-4e94-91d1-d1b6c7293a0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description="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9b85ed-18c3-4aa1-9352-a89c372114b7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ea577695-007a-488e-ae47-e5fcc9bb8086}" ma:internalName="TaxCatchAll" ma:showField="CatchAllData" ma:web="e29b85ed-18c3-4aa1-9352-a89c372114b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e29b85ed-18c3-4aa1-9352-a89c372114b7">
      <UserInfo>
        <DisplayName>Dany Galbiati</DisplayName>
        <AccountId>23</AccountId>
        <AccountType/>
      </UserInfo>
      <UserInfo>
        <DisplayName>ENTERPRISE\bentmi02</DisplayName>
        <AccountId>46</AccountId>
        <AccountType/>
      </UserInfo>
      <UserInfo>
        <DisplayName>Nicole Alfano</DisplayName>
        <AccountId>45</AccountId>
        <AccountType/>
      </UserInfo>
      <UserInfo>
        <DisplayName>Emily Henrick</DisplayName>
        <AccountId>9818</AccountId>
        <AccountType/>
      </UserInfo>
      <UserInfo>
        <DisplayName>Erica Parker</DisplayName>
        <AccountId>27</AccountId>
        <AccountType/>
      </UserInfo>
    </SharedWithUsers>
    <lcf76f155ced4ddcb4097134ff3c332f xmlns="08496985-b4e7-44f6-a0fb-cf9483876b39">
      <Terms xmlns="http://schemas.microsoft.com/office/infopath/2007/PartnerControls"/>
    </lcf76f155ced4ddcb4097134ff3c332f>
    <TaxCatchAll xmlns="e29b85ed-18c3-4aa1-9352-a89c372114b7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352AED5-086D-47CE-9EB9-B9965E657FE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8496985-b4e7-44f6-a0fb-cf9483876b39"/>
    <ds:schemaRef ds:uri="e29b85ed-18c3-4aa1-9352-a89c372114b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A3FBA1AC-D44D-469D-AC28-93DA62E33DE4}">
  <ds:schemaRefs>
    <ds:schemaRef ds:uri="http://www.w3.org/XML/1998/namespace"/>
    <ds:schemaRef ds:uri="http://purl.org/dc/terms/"/>
    <ds:schemaRef ds:uri="08496985-b4e7-44f6-a0fb-cf9483876b39"/>
    <ds:schemaRef ds:uri="http://purl.org/dc/dcmitype/"/>
    <ds:schemaRef ds:uri="http://schemas.openxmlformats.org/package/2006/metadata/core-properties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e29b85ed-18c3-4aa1-9352-a89c372114b7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8935DEC8-598B-44E0-B52B-F483362B0337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5337</TotalTime>
  <Words>6592</Words>
  <Application>Microsoft Office PowerPoint</Application>
  <PresentationFormat>Widescreen</PresentationFormat>
  <Paragraphs>1010</Paragraphs>
  <Slides>43</Slides>
  <Notes>8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43</vt:i4>
      </vt:variant>
    </vt:vector>
  </HeadingPairs>
  <TitlesOfParts>
    <vt:vector size="61" baseType="lpstr">
      <vt:lpstr>Arial</vt:lpstr>
      <vt:lpstr>Calibri</vt:lpstr>
      <vt:lpstr>Helvetica</vt:lpstr>
      <vt:lpstr>Helvetica Light</vt:lpstr>
      <vt:lpstr>PlutoSansCondBold</vt:lpstr>
      <vt:lpstr>Times New Roman</vt:lpstr>
      <vt:lpstr>1_Full Page Header</vt:lpstr>
      <vt:lpstr>21_Full Page Header</vt:lpstr>
      <vt:lpstr>11_Full Page Header</vt:lpstr>
      <vt:lpstr>13_Full Page Header</vt:lpstr>
      <vt:lpstr>15_Full Page Header</vt:lpstr>
      <vt:lpstr>22_Full Page Header</vt:lpstr>
      <vt:lpstr>24_Full Page Header</vt:lpstr>
      <vt:lpstr>26_Full Page Header</vt:lpstr>
      <vt:lpstr>27_Full Page Header</vt:lpstr>
      <vt:lpstr>2_Full Page Header</vt:lpstr>
      <vt:lpstr>6_Full Page Header</vt:lpstr>
      <vt:lpstr>think-cell Slide</vt:lpstr>
      <vt:lpstr>The Effectiveness of Digital OOH Advertising</vt:lpstr>
      <vt:lpstr>Table of Contents and Methodology</vt:lpstr>
      <vt:lpstr>Key Findings</vt:lpstr>
      <vt:lpstr>Key Findings</vt:lpstr>
      <vt:lpstr>Audience Definitions</vt:lpstr>
      <vt:lpstr>Detailed Findings</vt:lpstr>
      <vt:lpstr>The State of DOOH Advertising</vt:lpstr>
      <vt:lpstr>Digital OOH is the most favorably viewed advertising format</vt:lpstr>
      <vt:lpstr>Digital OOH is the ad format most likely to drive consumer action</vt:lpstr>
      <vt:lpstr>Digital OOH ads generated action among three in four recent viewers</vt:lpstr>
      <vt:lpstr>Digital OOH ads generated mobile device actions with three in four recent viewers</vt:lpstr>
      <vt:lpstr>77% of consumers noticed DOOH ads when making purchases inside businesses</vt:lpstr>
      <vt:lpstr>DOOH Category Deep Dive</vt:lpstr>
      <vt:lpstr>Over 60% of consumers have recently noticed a digital billboard </vt:lpstr>
      <vt:lpstr>Almost 8 in 10 consumers acted after recent digital billboard ad exposure</vt:lpstr>
      <vt:lpstr>Over 50% of consumers have recently noticed street level digital OOH ads  </vt:lpstr>
      <vt:lpstr>Almost 9 in 10 consumers acted after recent street level digital OOH ad exposure</vt:lpstr>
      <vt:lpstr>Almost 60% of consumers have recently noticed transit digital OOH ads </vt:lpstr>
      <vt:lpstr>85% of consumers acted after recent transit digital OOH ad exposure</vt:lpstr>
      <vt:lpstr>Over 70% of consumers have recently noticed place-based digital OOH ads </vt:lpstr>
      <vt:lpstr>PowerPoint Presentation</vt:lpstr>
      <vt:lpstr>DOOH: Amplifying and Innovative</vt:lpstr>
      <vt:lpstr>Amplifying</vt:lpstr>
      <vt:lpstr>Directional DOOH ads drive purchase behaviors among consumers</vt:lpstr>
      <vt:lpstr>DOOH ads with cost-saving opportunities for groceries, restaurants most likely to engage consumers</vt:lpstr>
      <vt:lpstr>DOOH ads that are entertaining or feature a favorite product or brand make consumers more likely to share the ad or its message content</vt:lpstr>
      <vt:lpstr>Half of consumers say clever or funny DOOH ads would increase their likelihood of taking action</vt:lpstr>
      <vt:lpstr>Innovative</vt:lpstr>
      <vt:lpstr>Over 80% of consumers say dynamic DOOH ads with deals on groceries, at restaurants, and traffic, weather or time related updates are most useful</vt:lpstr>
      <vt:lpstr>Nearly three-quarters of consumers are interested in seeing 3D DOOH ads</vt:lpstr>
      <vt:lpstr>Demographics</vt:lpstr>
      <vt:lpstr>Demographics: General Population</vt:lpstr>
      <vt:lpstr>Appendix</vt:lpstr>
      <vt:lpstr>Category Definitions</vt:lpstr>
      <vt:lpstr>Ad Favorability</vt:lpstr>
      <vt:lpstr>Ad Favorability Index</vt:lpstr>
      <vt:lpstr>Likelihood to Drive Action </vt:lpstr>
      <vt:lpstr>Likelihood to Drive Action Index </vt:lpstr>
      <vt:lpstr>Viewing Frequency of DOOH Ad Formats</vt:lpstr>
      <vt:lpstr>Images for Advertisement Types</vt:lpstr>
      <vt:lpstr>Images for Advertisement Types</vt:lpstr>
      <vt:lpstr>Images for Advertisement Types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2020 RQ® Study</dc:title>
  <dc:creator>Andrew Higham</dc:creator>
  <cp:lastModifiedBy>Steve Nicklin</cp:lastModifiedBy>
  <cp:revision>2</cp:revision>
  <cp:lastPrinted>2024-04-23T15:44:29Z</cp:lastPrinted>
  <dcterms:created xsi:type="dcterms:W3CDTF">2020-03-05T16:59:16Z</dcterms:created>
  <dcterms:modified xsi:type="dcterms:W3CDTF">2024-05-16T18:36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41E41268B306D4290BDF522CB861ED0</vt:lpwstr>
  </property>
  <property fmtid="{D5CDD505-2E9C-101B-9397-08002B2CF9AE}" pid="3" name="xd_ProgID">
    <vt:lpwstr/>
  </property>
  <property fmtid="{D5CDD505-2E9C-101B-9397-08002B2CF9AE}" pid="4" name="MediaServiceImageTags">
    <vt:lpwstr/>
  </property>
  <property fmtid="{D5CDD505-2E9C-101B-9397-08002B2CF9AE}" pid="5" name="Hyperlink">
    <vt:lpwstr>, </vt:lpwstr>
  </property>
  <property fmtid="{D5CDD505-2E9C-101B-9397-08002B2CF9AE}" pid="6" name="ComplianceAssetId">
    <vt:lpwstr/>
  </property>
  <property fmtid="{D5CDD505-2E9C-101B-9397-08002B2CF9AE}" pid="7" name="TemplateUrl">
    <vt:lpwstr/>
  </property>
  <property fmtid="{D5CDD505-2E9C-101B-9397-08002B2CF9AE}" pid="8" name="_ExtendedDescription">
    <vt:lpwstr/>
  </property>
  <property fmtid="{D5CDD505-2E9C-101B-9397-08002B2CF9AE}" pid="9" name="Image">
    <vt:lpwstr>, </vt:lpwstr>
  </property>
  <property fmtid="{D5CDD505-2E9C-101B-9397-08002B2CF9AE}" pid="10" name="TriggerFlowInfo">
    <vt:lpwstr/>
  </property>
  <property fmtid="{D5CDD505-2E9C-101B-9397-08002B2CF9AE}" pid="11" name="xd_Signature">
    <vt:bool>false</vt:bool>
  </property>
  <property fmtid="{D5CDD505-2E9C-101B-9397-08002B2CF9AE}" pid="12" name="SharedWithUsers">
    <vt:lpwstr>23;#Tawny Saez;#46;#Andrew Higham</vt:lpwstr>
  </property>
</Properties>
</file>